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76" r:id="rId4"/>
    <p:sldMasterId id="2147483692" r:id="rId5"/>
    <p:sldMasterId id="2147483715" r:id="rId6"/>
  </p:sldMasterIdLst>
  <p:notesMasterIdLst>
    <p:notesMasterId r:id="rId27"/>
  </p:notesMasterIdLst>
  <p:handoutMasterIdLst>
    <p:handoutMasterId r:id="rId28"/>
  </p:handoutMasterIdLst>
  <p:sldIdLst>
    <p:sldId id="256" r:id="rId7"/>
    <p:sldId id="2147374413" r:id="rId8"/>
    <p:sldId id="2147374430" r:id="rId9"/>
    <p:sldId id="2147374682" r:id="rId10"/>
    <p:sldId id="2147374418" r:id="rId11"/>
    <p:sldId id="2147374417" r:id="rId12"/>
    <p:sldId id="2147374419" r:id="rId13"/>
    <p:sldId id="2147374420" r:id="rId14"/>
    <p:sldId id="2147374422" r:id="rId15"/>
    <p:sldId id="2147374421" r:id="rId16"/>
    <p:sldId id="2147374424" r:id="rId17"/>
    <p:sldId id="2147374425" r:id="rId18"/>
    <p:sldId id="2147374423" r:id="rId19"/>
    <p:sldId id="2147374428" r:id="rId20"/>
    <p:sldId id="2147374683" r:id="rId21"/>
    <p:sldId id="2147374429" r:id="rId22"/>
    <p:sldId id="2147374411" r:id="rId23"/>
    <p:sldId id="2147374431" r:id="rId24"/>
    <p:sldId id="2147374684" r:id="rId25"/>
    <p:sldId id="2147374681" r:id="rId2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8" userDrawn="1">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CB8B2"/>
    <a:srgbClr val="1B365D"/>
    <a:srgbClr val="A89968"/>
    <a:srgbClr val="009CBD"/>
    <a:srgbClr val="E0C0B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8A9083-89BD-469B-ABE6-EFCA5AB8EDB8}" v="318" dt="2024-05-28T06:24:11.0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240" autoAdjust="0"/>
  </p:normalViewPr>
  <p:slideViewPr>
    <p:cSldViewPr snapToGrid="0">
      <p:cViewPr varScale="1">
        <p:scale>
          <a:sx n="201" d="100"/>
          <a:sy n="201" d="100"/>
        </p:scale>
        <p:origin x="616" y="108"/>
      </p:cViewPr>
      <p:guideLst>
        <p:guide orient="horz" pos="708"/>
        <p:guide pos="288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96" d="100"/>
          <a:sy n="96" d="100"/>
        </p:scale>
        <p:origin x="2480" y="1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microsoft.com/office/2015/10/relationships/revisionInfo" Target="revisionInfo.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ertze, Roelof" userId="f34fe284-20c3-480c-8d68-d60183ecdf6b" providerId="ADAL" clId="{088A9083-89BD-469B-ABE6-EFCA5AB8EDB8}"/>
    <pc:docChg chg="undo redo custSel addSld delSld modSld sldOrd modMainMaster">
      <pc:chgData name="Coertze, Roelof" userId="f34fe284-20c3-480c-8d68-d60183ecdf6b" providerId="ADAL" clId="{088A9083-89BD-469B-ABE6-EFCA5AB8EDB8}" dt="2024-05-28T06:26:53.672" v="7361" actId="20577"/>
      <pc:docMkLst>
        <pc:docMk/>
      </pc:docMkLst>
      <pc:sldChg chg="modSp mod">
        <pc:chgData name="Coertze, Roelof" userId="f34fe284-20c3-480c-8d68-d60183ecdf6b" providerId="ADAL" clId="{088A9083-89BD-469B-ABE6-EFCA5AB8EDB8}" dt="2024-05-23T07:20:24.204" v="1607" actId="404"/>
        <pc:sldMkLst>
          <pc:docMk/>
          <pc:sldMk cId="112987318" sldId="256"/>
        </pc:sldMkLst>
        <pc:spChg chg="mod">
          <ac:chgData name="Coertze, Roelof" userId="f34fe284-20c3-480c-8d68-d60183ecdf6b" providerId="ADAL" clId="{088A9083-89BD-469B-ABE6-EFCA5AB8EDB8}" dt="2024-05-23T07:20:15.049" v="1604" actId="20577"/>
          <ac:spMkLst>
            <pc:docMk/>
            <pc:sldMk cId="112987318" sldId="256"/>
            <ac:spMk id="3" creationId="{0A28E503-7D94-CA45-B7A3-EDC2737DA0C7}"/>
          </ac:spMkLst>
        </pc:spChg>
        <pc:spChg chg="mod">
          <ac:chgData name="Coertze, Roelof" userId="f34fe284-20c3-480c-8d68-d60183ecdf6b" providerId="ADAL" clId="{088A9083-89BD-469B-ABE6-EFCA5AB8EDB8}" dt="2024-05-23T07:20:24.204" v="1607" actId="404"/>
          <ac:spMkLst>
            <pc:docMk/>
            <pc:sldMk cId="112987318" sldId="256"/>
            <ac:spMk id="4" creationId="{EFEB8F49-7229-134D-81FE-111D77041092}"/>
          </ac:spMkLst>
        </pc:spChg>
        <pc:spChg chg="mod">
          <ac:chgData name="Coertze, Roelof" userId="f34fe284-20c3-480c-8d68-d60183ecdf6b" providerId="ADAL" clId="{088A9083-89BD-469B-ABE6-EFCA5AB8EDB8}" dt="2024-05-23T07:20:00.835" v="1565" actId="20577"/>
          <ac:spMkLst>
            <pc:docMk/>
            <pc:sldMk cId="112987318" sldId="256"/>
            <ac:spMk id="6" creationId="{151C4FA1-35B2-4426-BCF8-288768C025CE}"/>
          </ac:spMkLst>
        </pc:spChg>
      </pc:sldChg>
      <pc:sldChg chg="del">
        <pc:chgData name="Coertze, Roelof" userId="f34fe284-20c3-480c-8d68-d60183ecdf6b" providerId="ADAL" clId="{088A9083-89BD-469B-ABE6-EFCA5AB8EDB8}" dt="2024-05-23T12:19:38.487" v="6543" actId="47"/>
        <pc:sldMkLst>
          <pc:docMk/>
          <pc:sldMk cId="4278478087" sldId="295"/>
        </pc:sldMkLst>
      </pc:sldChg>
      <pc:sldChg chg="del">
        <pc:chgData name="Coertze, Roelof" userId="f34fe284-20c3-480c-8d68-d60183ecdf6b" providerId="ADAL" clId="{088A9083-89BD-469B-ABE6-EFCA5AB8EDB8}" dt="2024-05-23T12:19:39.109" v="6544" actId="47"/>
        <pc:sldMkLst>
          <pc:docMk/>
          <pc:sldMk cId="3107137874" sldId="298"/>
        </pc:sldMkLst>
      </pc:sldChg>
      <pc:sldChg chg="del">
        <pc:chgData name="Coertze, Roelof" userId="f34fe284-20c3-480c-8d68-d60183ecdf6b" providerId="ADAL" clId="{088A9083-89BD-469B-ABE6-EFCA5AB8EDB8}" dt="2024-05-23T12:19:40.441" v="6546" actId="47"/>
        <pc:sldMkLst>
          <pc:docMk/>
          <pc:sldMk cId="970670730" sldId="6938"/>
        </pc:sldMkLst>
      </pc:sldChg>
      <pc:sldChg chg="add del">
        <pc:chgData name="Coertze, Roelof" userId="f34fe284-20c3-480c-8d68-d60183ecdf6b" providerId="ADAL" clId="{088A9083-89BD-469B-ABE6-EFCA5AB8EDB8}" dt="2024-05-23T12:12:15.773" v="6433" actId="47"/>
        <pc:sldMkLst>
          <pc:docMk/>
          <pc:sldMk cId="1328820541" sldId="2142533722"/>
        </pc:sldMkLst>
      </pc:sldChg>
      <pc:sldChg chg="del">
        <pc:chgData name="Coertze, Roelof" userId="f34fe284-20c3-480c-8d68-d60183ecdf6b" providerId="ADAL" clId="{088A9083-89BD-469B-ABE6-EFCA5AB8EDB8}" dt="2024-05-23T09:48:24.474" v="3535" actId="2696"/>
        <pc:sldMkLst>
          <pc:docMk/>
          <pc:sldMk cId="4173503351" sldId="2142533722"/>
        </pc:sldMkLst>
      </pc:sldChg>
      <pc:sldChg chg="del">
        <pc:chgData name="Coertze, Roelof" userId="f34fe284-20c3-480c-8d68-d60183ecdf6b" providerId="ADAL" clId="{088A9083-89BD-469B-ABE6-EFCA5AB8EDB8}" dt="2024-05-23T12:19:39.842" v="6545" actId="47"/>
        <pc:sldMkLst>
          <pc:docMk/>
          <pc:sldMk cId="32639720" sldId="2147374408"/>
        </pc:sldMkLst>
      </pc:sldChg>
      <pc:sldChg chg="del">
        <pc:chgData name="Coertze, Roelof" userId="f34fe284-20c3-480c-8d68-d60183ecdf6b" providerId="ADAL" clId="{088A9083-89BD-469B-ABE6-EFCA5AB8EDB8}" dt="2024-05-23T12:19:41.007" v="6547" actId="47"/>
        <pc:sldMkLst>
          <pc:docMk/>
          <pc:sldMk cId="67585798" sldId="2147374409"/>
        </pc:sldMkLst>
      </pc:sldChg>
      <pc:sldChg chg="add del">
        <pc:chgData name="Coertze, Roelof" userId="f34fe284-20c3-480c-8d68-d60183ecdf6b" providerId="ADAL" clId="{088A9083-89BD-469B-ABE6-EFCA5AB8EDB8}" dt="2024-05-23T12:12:13.491" v="6432" actId="47"/>
        <pc:sldMkLst>
          <pc:docMk/>
          <pc:sldMk cId="3071583109" sldId="2147374410"/>
        </pc:sldMkLst>
      </pc:sldChg>
      <pc:sldChg chg="del">
        <pc:chgData name="Coertze, Roelof" userId="f34fe284-20c3-480c-8d68-d60183ecdf6b" providerId="ADAL" clId="{088A9083-89BD-469B-ABE6-EFCA5AB8EDB8}" dt="2024-05-23T09:48:24.474" v="3535" actId="2696"/>
        <pc:sldMkLst>
          <pc:docMk/>
          <pc:sldMk cId="3764803062" sldId="2147374410"/>
        </pc:sldMkLst>
      </pc:sldChg>
      <pc:sldChg chg="modSp add mod">
        <pc:chgData name="Coertze, Roelof" userId="f34fe284-20c3-480c-8d68-d60183ecdf6b" providerId="ADAL" clId="{088A9083-89BD-469B-ABE6-EFCA5AB8EDB8}" dt="2024-05-28T06:13:42.278" v="6921" actId="20577"/>
        <pc:sldMkLst>
          <pc:docMk/>
          <pc:sldMk cId="2720889705" sldId="2147374411"/>
        </pc:sldMkLst>
        <pc:spChg chg="mod">
          <ac:chgData name="Coertze, Roelof" userId="f34fe284-20c3-480c-8d68-d60183ecdf6b" providerId="ADAL" clId="{088A9083-89BD-469B-ABE6-EFCA5AB8EDB8}" dt="2024-05-23T12:12:44.799" v="6490" actId="20577"/>
          <ac:spMkLst>
            <pc:docMk/>
            <pc:sldMk cId="2720889705" sldId="2147374411"/>
            <ac:spMk id="2" creationId="{01380A6A-BDC8-148C-0CA2-57084EF8F00B}"/>
          </ac:spMkLst>
        </pc:spChg>
        <pc:spChg chg="mod">
          <ac:chgData name="Coertze, Roelof" userId="f34fe284-20c3-480c-8d68-d60183ecdf6b" providerId="ADAL" clId="{088A9083-89BD-469B-ABE6-EFCA5AB8EDB8}" dt="2024-05-28T06:13:42.278" v="6921" actId="20577"/>
          <ac:spMkLst>
            <pc:docMk/>
            <pc:sldMk cId="2720889705" sldId="2147374411"/>
            <ac:spMk id="4" creationId="{1E6D8E55-CCCC-DF54-6896-FCDB847D6DDD}"/>
          </ac:spMkLst>
        </pc:spChg>
        <pc:picChg chg="mod">
          <ac:chgData name="Coertze, Roelof" userId="f34fe284-20c3-480c-8d68-d60183ecdf6b" providerId="ADAL" clId="{088A9083-89BD-469B-ABE6-EFCA5AB8EDB8}" dt="2024-05-28T06:13:24.776" v="6915" actId="1076"/>
          <ac:picMkLst>
            <pc:docMk/>
            <pc:sldMk cId="2720889705" sldId="2147374411"/>
            <ac:picMk id="5" creationId="{EBD7A3A6-1684-FC50-3E62-2797BDAAEFAC}"/>
          </ac:picMkLst>
        </pc:picChg>
      </pc:sldChg>
      <pc:sldChg chg="del">
        <pc:chgData name="Coertze, Roelof" userId="f34fe284-20c3-480c-8d68-d60183ecdf6b" providerId="ADAL" clId="{088A9083-89BD-469B-ABE6-EFCA5AB8EDB8}" dt="2024-05-23T09:48:24.474" v="3535" actId="2696"/>
        <pc:sldMkLst>
          <pc:docMk/>
          <pc:sldMk cId="3545578466" sldId="2147374411"/>
        </pc:sldMkLst>
      </pc:sldChg>
      <pc:sldChg chg="del">
        <pc:chgData name="Coertze, Roelof" userId="f34fe284-20c3-480c-8d68-d60183ecdf6b" providerId="ADAL" clId="{088A9083-89BD-469B-ABE6-EFCA5AB8EDB8}" dt="2024-05-23T12:19:42.423" v="6548" actId="47"/>
        <pc:sldMkLst>
          <pc:docMk/>
          <pc:sldMk cId="1751027027" sldId="2147374412"/>
        </pc:sldMkLst>
      </pc:sldChg>
      <pc:sldChg chg="addSp delSp modSp new mod ord modClrScheme chgLayout">
        <pc:chgData name="Coertze, Roelof" userId="f34fe284-20c3-480c-8d68-d60183ecdf6b" providerId="ADAL" clId="{088A9083-89BD-469B-ABE6-EFCA5AB8EDB8}" dt="2024-05-23T08:59:37.072" v="3332" actId="20577"/>
        <pc:sldMkLst>
          <pc:docMk/>
          <pc:sldMk cId="2524397525" sldId="2147374413"/>
        </pc:sldMkLst>
        <pc:spChg chg="mod">
          <ac:chgData name="Coertze, Roelof" userId="f34fe284-20c3-480c-8d68-d60183ecdf6b" providerId="ADAL" clId="{088A9083-89BD-469B-ABE6-EFCA5AB8EDB8}" dt="2024-05-23T06:48:58.707" v="1252" actId="26606"/>
          <ac:spMkLst>
            <pc:docMk/>
            <pc:sldMk cId="2524397525" sldId="2147374413"/>
            <ac:spMk id="2" creationId="{89CFA0F6-69BD-650C-5CB9-11343DD3B13B}"/>
          </ac:spMkLst>
        </pc:spChg>
        <pc:spChg chg="del">
          <ac:chgData name="Coertze, Roelof" userId="f34fe284-20c3-480c-8d68-d60183ecdf6b" providerId="ADAL" clId="{088A9083-89BD-469B-ABE6-EFCA5AB8EDB8}" dt="2024-05-23T06:48:58.707" v="1252" actId="26606"/>
          <ac:spMkLst>
            <pc:docMk/>
            <pc:sldMk cId="2524397525" sldId="2147374413"/>
            <ac:spMk id="3" creationId="{55EC9939-7189-C2C6-5122-B07B8C7E33E3}"/>
          </ac:spMkLst>
        </pc:spChg>
        <pc:spChg chg="del">
          <ac:chgData name="Coertze, Roelof" userId="f34fe284-20c3-480c-8d68-d60183ecdf6b" providerId="ADAL" clId="{088A9083-89BD-469B-ABE6-EFCA5AB8EDB8}" dt="2024-05-23T06:11:47.441" v="960"/>
          <ac:spMkLst>
            <pc:docMk/>
            <pc:sldMk cId="2524397525" sldId="2147374413"/>
            <ac:spMk id="4" creationId="{46A8B365-0647-FA41-85FE-B79001ED7DC4}"/>
          </ac:spMkLst>
        </pc:spChg>
        <pc:spChg chg="add mod">
          <ac:chgData name="Coertze, Roelof" userId="f34fe284-20c3-480c-8d68-d60183ecdf6b" providerId="ADAL" clId="{088A9083-89BD-469B-ABE6-EFCA5AB8EDB8}" dt="2024-05-23T08:59:37.072" v="3332" actId="20577"/>
          <ac:spMkLst>
            <pc:docMk/>
            <pc:sldMk cId="2524397525" sldId="2147374413"/>
            <ac:spMk id="6" creationId="{DB2896A3-51C6-E342-EC28-79EECA5EC230}"/>
          </ac:spMkLst>
        </pc:spChg>
        <pc:spChg chg="add mod">
          <ac:chgData name="Coertze, Roelof" userId="f34fe284-20c3-480c-8d68-d60183ecdf6b" providerId="ADAL" clId="{088A9083-89BD-469B-ABE6-EFCA5AB8EDB8}" dt="2024-05-23T06:48:58.707" v="1252" actId="26606"/>
          <ac:spMkLst>
            <pc:docMk/>
            <pc:sldMk cId="2524397525" sldId="2147374413"/>
            <ac:spMk id="13" creationId="{18AA444D-A667-DB44-CD74-7232AFDDDAD2}"/>
          </ac:spMkLst>
        </pc:spChg>
        <pc:picChg chg="add mod ord modCrop">
          <ac:chgData name="Coertze, Roelof" userId="f34fe284-20c3-480c-8d68-d60183ecdf6b" providerId="ADAL" clId="{088A9083-89BD-469B-ABE6-EFCA5AB8EDB8}" dt="2024-05-23T06:48:58.707" v="1252" actId="26606"/>
          <ac:picMkLst>
            <pc:docMk/>
            <pc:sldMk cId="2524397525" sldId="2147374413"/>
            <ac:picMk id="8" creationId="{46AA8C2B-B836-7776-A070-9F43E2D69D1A}"/>
          </ac:picMkLst>
        </pc:picChg>
      </pc:sldChg>
      <pc:sldChg chg="new del">
        <pc:chgData name="Coertze, Roelof" userId="f34fe284-20c3-480c-8d68-d60183ecdf6b" providerId="ADAL" clId="{088A9083-89BD-469B-ABE6-EFCA5AB8EDB8}" dt="2024-05-23T05:56:47.553" v="1" actId="680"/>
        <pc:sldMkLst>
          <pc:docMk/>
          <pc:sldMk cId="3042327523" sldId="2147374413"/>
        </pc:sldMkLst>
      </pc:sldChg>
      <pc:sldChg chg="modSp new del mod ord">
        <pc:chgData name="Coertze, Roelof" userId="f34fe284-20c3-480c-8d68-d60183ecdf6b" providerId="ADAL" clId="{088A9083-89BD-469B-ABE6-EFCA5AB8EDB8}" dt="2024-05-23T12:06:33.735" v="5937" actId="47"/>
        <pc:sldMkLst>
          <pc:docMk/>
          <pc:sldMk cId="4125499419" sldId="2147374414"/>
        </pc:sldMkLst>
        <pc:spChg chg="mod">
          <ac:chgData name="Coertze, Roelof" userId="f34fe284-20c3-480c-8d68-d60183ecdf6b" providerId="ADAL" clId="{088A9083-89BD-469B-ABE6-EFCA5AB8EDB8}" dt="2024-05-23T08:27:02.215" v="2927" actId="20577"/>
          <ac:spMkLst>
            <pc:docMk/>
            <pc:sldMk cId="4125499419" sldId="2147374414"/>
            <ac:spMk id="2" creationId="{6493F046-F4AC-D8F3-7CA5-4C6BD9C0CD7B}"/>
          </ac:spMkLst>
        </pc:spChg>
        <pc:spChg chg="mod">
          <ac:chgData name="Coertze, Roelof" userId="f34fe284-20c3-480c-8d68-d60183ecdf6b" providerId="ADAL" clId="{088A9083-89BD-469B-ABE6-EFCA5AB8EDB8}" dt="2024-05-23T08:32:57.856" v="3143" actId="6549"/>
          <ac:spMkLst>
            <pc:docMk/>
            <pc:sldMk cId="4125499419" sldId="2147374414"/>
            <ac:spMk id="4" creationId="{272719F0-5F51-A116-969E-125869F716B3}"/>
          </ac:spMkLst>
        </pc:spChg>
      </pc:sldChg>
      <pc:sldChg chg="add del">
        <pc:chgData name="Coertze, Roelof" userId="f34fe284-20c3-480c-8d68-d60183ecdf6b" providerId="ADAL" clId="{088A9083-89BD-469B-ABE6-EFCA5AB8EDB8}" dt="2024-05-23T12:19:37.056" v="6542" actId="47"/>
        <pc:sldMkLst>
          <pc:docMk/>
          <pc:sldMk cId="166588552" sldId="2147374415"/>
        </pc:sldMkLst>
      </pc:sldChg>
      <pc:sldChg chg="addSp delSp modSp new del mod">
        <pc:chgData name="Coertze, Roelof" userId="f34fe284-20c3-480c-8d68-d60183ecdf6b" providerId="ADAL" clId="{088A9083-89BD-469B-ABE6-EFCA5AB8EDB8}" dt="2024-05-23T07:18:53.815" v="1496" actId="47"/>
        <pc:sldMkLst>
          <pc:docMk/>
          <pc:sldMk cId="250938611" sldId="2147374416"/>
        </pc:sldMkLst>
        <pc:spChg chg="mod">
          <ac:chgData name="Coertze, Roelof" userId="f34fe284-20c3-480c-8d68-d60183ecdf6b" providerId="ADAL" clId="{088A9083-89BD-469B-ABE6-EFCA5AB8EDB8}" dt="2024-05-23T06:14:57.522" v="1069" actId="20577"/>
          <ac:spMkLst>
            <pc:docMk/>
            <pc:sldMk cId="250938611" sldId="2147374416"/>
            <ac:spMk id="2" creationId="{B727E8B9-E279-26F4-6A58-7833F89F1BEA}"/>
          </ac:spMkLst>
        </pc:spChg>
        <pc:spChg chg="del">
          <ac:chgData name="Coertze, Roelof" userId="f34fe284-20c3-480c-8d68-d60183ecdf6b" providerId="ADAL" clId="{088A9083-89BD-469B-ABE6-EFCA5AB8EDB8}" dt="2024-05-23T06:21:31.342" v="1073"/>
          <ac:spMkLst>
            <pc:docMk/>
            <pc:sldMk cId="250938611" sldId="2147374416"/>
            <ac:spMk id="4" creationId="{34C12B10-6112-0099-9D38-EAC7679AB9BF}"/>
          </ac:spMkLst>
        </pc:spChg>
        <pc:spChg chg="add del mod">
          <ac:chgData name="Coertze, Roelof" userId="f34fe284-20c3-480c-8d68-d60183ecdf6b" providerId="ADAL" clId="{088A9083-89BD-469B-ABE6-EFCA5AB8EDB8}" dt="2024-05-23T06:31:18.888" v="1125"/>
          <ac:spMkLst>
            <pc:docMk/>
            <pc:sldMk cId="250938611" sldId="2147374416"/>
            <ac:spMk id="7" creationId="{70D5DA12-B138-8F67-39EB-1A5770E8EE45}"/>
          </ac:spMkLst>
        </pc:spChg>
        <pc:spChg chg="add del mod">
          <ac:chgData name="Coertze, Roelof" userId="f34fe284-20c3-480c-8d68-d60183ecdf6b" providerId="ADAL" clId="{088A9083-89BD-469B-ABE6-EFCA5AB8EDB8}" dt="2024-05-23T06:31:33.442" v="1131" actId="478"/>
          <ac:spMkLst>
            <pc:docMk/>
            <pc:sldMk cId="250938611" sldId="2147374416"/>
            <ac:spMk id="11" creationId="{620063F2-7760-6840-5F51-47C1CD937967}"/>
          </ac:spMkLst>
        </pc:spChg>
        <pc:picChg chg="add del mod">
          <ac:chgData name="Coertze, Roelof" userId="f34fe284-20c3-480c-8d68-d60183ecdf6b" providerId="ADAL" clId="{088A9083-89BD-469B-ABE6-EFCA5AB8EDB8}" dt="2024-05-23T06:37:06.856" v="1167" actId="21"/>
          <ac:picMkLst>
            <pc:docMk/>
            <pc:sldMk cId="250938611" sldId="2147374416"/>
            <ac:picMk id="6" creationId="{A4B3F6EC-9E28-FAAF-B678-BC3070D7539E}"/>
          </ac:picMkLst>
        </pc:picChg>
        <pc:picChg chg="add del mod">
          <ac:chgData name="Coertze, Roelof" userId="f34fe284-20c3-480c-8d68-d60183ecdf6b" providerId="ADAL" clId="{088A9083-89BD-469B-ABE6-EFCA5AB8EDB8}" dt="2024-05-23T06:31:30.293" v="1130" actId="478"/>
          <ac:picMkLst>
            <pc:docMk/>
            <pc:sldMk cId="250938611" sldId="2147374416"/>
            <ac:picMk id="9" creationId="{06787B0E-15EF-895F-C0F5-5413C9070FEA}"/>
          </ac:picMkLst>
        </pc:picChg>
        <pc:picChg chg="add del mod">
          <ac:chgData name="Coertze, Roelof" userId="f34fe284-20c3-480c-8d68-d60183ecdf6b" providerId="ADAL" clId="{088A9083-89BD-469B-ABE6-EFCA5AB8EDB8}" dt="2024-05-23T06:21:57.415" v="1075" actId="478"/>
          <ac:picMkLst>
            <pc:docMk/>
            <pc:sldMk cId="250938611" sldId="2147374416"/>
            <ac:picMk id="1026" creationId="{AE6FDCA6-7B56-A091-4332-AD2117F46AEC}"/>
          </ac:picMkLst>
        </pc:picChg>
      </pc:sldChg>
      <pc:sldChg chg="addSp delSp modSp add mod ord">
        <pc:chgData name="Coertze, Roelof" userId="f34fe284-20c3-480c-8d68-d60183ecdf6b" providerId="ADAL" clId="{088A9083-89BD-469B-ABE6-EFCA5AB8EDB8}" dt="2024-05-28T06:17:49.908" v="7105" actId="20577"/>
        <pc:sldMkLst>
          <pc:docMk/>
          <pc:sldMk cId="3240096352" sldId="2147374417"/>
        </pc:sldMkLst>
        <pc:spChg chg="mod">
          <ac:chgData name="Coertze, Roelof" userId="f34fe284-20c3-480c-8d68-d60183ecdf6b" providerId="ADAL" clId="{088A9083-89BD-469B-ABE6-EFCA5AB8EDB8}" dt="2024-05-28T06:17:49.908" v="7105" actId="20577"/>
          <ac:spMkLst>
            <pc:docMk/>
            <pc:sldMk cId="3240096352" sldId="2147374417"/>
            <ac:spMk id="2" creationId="{B727E8B9-E279-26F4-6A58-7833F89F1BEA}"/>
          </ac:spMkLst>
        </pc:spChg>
        <pc:spChg chg="add del mod">
          <ac:chgData name="Coertze, Roelof" userId="f34fe284-20c3-480c-8d68-d60183ecdf6b" providerId="ADAL" clId="{088A9083-89BD-469B-ABE6-EFCA5AB8EDB8}" dt="2024-05-23T06:35:06.433" v="1136"/>
          <ac:spMkLst>
            <pc:docMk/>
            <pc:sldMk cId="3240096352" sldId="2147374417"/>
            <ac:spMk id="5" creationId="{969241E9-42EF-97AD-0A64-A2828576CE24}"/>
          </ac:spMkLst>
        </pc:spChg>
        <pc:spChg chg="add del mod">
          <ac:chgData name="Coertze, Roelof" userId="f34fe284-20c3-480c-8d68-d60183ecdf6b" providerId="ADAL" clId="{088A9083-89BD-469B-ABE6-EFCA5AB8EDB8}" dt="2024-05-23T06:43:14.132" v="1172"/>
          <ac:spMkLst>
            <pc:docMk/>
            <pc:sldMk cId="3240096352" sldId="2147374417"/>
            <ac:spMk id="12" creationId="{D53BF32F-43E7-4935-1F1B-DB4765224ACE}"/>
          </ac:spMkLst>
        </pc:spChg>
        <pc:spChg chg="add del mod">
          <ac:chgData name="Coertze, Roelof" userId="f34fe284-20c3-480c-8d68-d60183ecdf6b" providerId="ADAL" clId="{088A9083-89BD-469B-ABE6-EFCA5AB8EDB8}" dt="2024-05-23T06:50:45.114" v="1318" actId="478"/>
          <ac:spMkLst>
            <pc:docMk/>
            <pc:sldMk cId="3240096352" sldId="2147374417"/>
            <ac:spMk id="17" creationId="{F743CFA5-F8A5-6A3A-634B-FA60D2FB0C09}"/>
          </ac:spMkLst>
        </pc:spChg>
        <pc:picChg chg="del">
          <ac:chgData name="Coertze, Roelof" userId="f34fe284-20c3-480c-8d68-d60183ecdf6b" providerId="ADAL" clId="{088A9083-89BD-469B-ABE6-EFCA5AB8EDB8}" dt="2024-05-23T06:31:41.592" v="1134" actId="478"/>
          <ac:picMkLst>
            <pc:docMk/>
            <pc:sldMk cId="3240096352" sldId="2147374417"/>
            <ac:picMk id="6" creationId="{A4B3F6EC-9E28-FAAF-B678-BC3070D7539E}"/>
          </ac:picMkLst>
        </pc:picChg>
        <pc:picChg chg="add del mod">
          <ac:chgData name="Coertze, Roelof" userId="f34fe284-20c3-480c-8d68-d60183ecdf6b" providerId="ADAL" clId="{088A9083-89BD-469B-ABE6-EFCA5AB8EDB8}" dt="2024-05-23T06:42:12.967" v="1171" actId="478"/>
          <ac:picMkLst>
            <pc:docMk/>
            <pc:sldMk cId="3240096352" sldId="2147374417"/>
            <ac:picMk id="8" creationId="{1667EE34-E18D-DCBB-0645-6BD37331DB84}"/>
          </ac:picMkLst>
        </pc:picChg>
        <pc:picChg chg="del">
          <ac:chgData name="Coertze, Roelof" userId="f34fe284-20c3-480c-8d68-d60183ecdf6b" providerId="ADAL" clId="{088A9083-89BD-469B-ABE6-EFCA5AB8EDB8}" dt="2024-05-23T06:35:06.084" v="1135" actId="478"/>
          <ac:picMkLst>
            <pc:docMk/>
            <pc:sldMk cId="3240096352" sldId="2147374417"/>
            <ac:picMk id="9" creationId="{06787B0E-15EF-895F-C0F5-5413C9070FEA}"/>
          </ac:picMkLst>
        </pc:picChg>
        <pc:picChg chg="add mod modCrop">
          <ac:chgData name="Coertze, Roelof" userId="f34fe284-20c3-480c-8d68-d60183ecdf6b" providerId="ADAL" clId="{088A9083-89BD-469B-ABE6-EFCA5AB8EDB8}" dt="2024-05-23T07:18:20.722" v="1489" actId="14100"/>
          <ac:picMkLst>
            <pc:docMk/>
            <pc:sldMk cId="3240096352" sldId="2147374417"/>
            <ac:picMk id="10" creationId="{A4B3F6EC-9E28-FAAF-B678-BC3070D7539E}"/>
          </ac:picMkLst>
        </pc:picChg>
        <pc:picChg chg="add del mod">
          <ac:chgData name="Coertze, Roelof" userId="f34fe284-20c3-480c-8d68-d60183ecdf6b" providerId="ADAL" clId="{088A9083-89BD-469B-ABE6-EFCA5AB8EDB8}" dt="2024-05-23T06:47:04.818" v="1195" actId="478"/>
          <ac:picMkLst>
            <pc:docMk/>
            <pc:sldMk cId="3240096352" sldId="2147374417"/>
            <ac:picMk id="15" creationId="{6592D775-5B21-43D1-997E-9AF95803CF9A}"/>
          </ac:picMkLst>
        </pc:picChg>
        <pc:picChg chg="add mod">
          <ac:chgData name="Coertze, Roelof" userId="f34fe284-20c3-480c-8d68-d60183ecdf6b" providerId="ADAL" clId="{088A9083-89BD-469B-ABE6-EFCA5AB8EDB8}" dt="2024-05-23T07:18:22.937" v="1490" actId="14100"/>
          <ac:picMkLst>
            <pc:docMk/>
            <pc:sldMk cId="3240096352" sldId="2147374417"/>
            <ac:picMk id="3074" creationId="{3C5E3F86-63C8-1987-9C6F-9543D0DEDD36}"/>
          </ac:picMkLst>
        </pc:picChg>
      </pc:sldChg>
      <pc:sldChg chg="delSp modSp add mod ord">
        <pc:chgData name="Coertze, Roelof" userId="f34fe284-20c3-480c-8d68-d60183ecdf6b" providerId="ADAL" clId="{088A9083-89BD-469B-ABE6-EFCA5AB8EDB8}" dt="2024-05-23T06:47:57.254" v="1251" actId="1076"/>
        <pc:sldMkLst>
          <pc:docMk/>
          <pc:sldMk cId="192109081" sldId="2147374418"/>
        </pc:sldMkLst>
        <pc:spChg chg="mod">
          <ac:chgData name="Coertze, Roelof" userId="f34fe284-20c3-480c-8d68-d60183ecdf6b" providerId="ADAL" clId="{088A9083-89BD-469B-ABE6-EFCA5AB8EDB8}" dt="2024-05-23T06:47:29.176" v="1203" actId="20577"/>
          <ac:spMkLst>
            <pc:docMk/>
            <pc:sldMk cId="192109081" sldId="2147374418"/>
            <ac:spMk id="2" creationId="{B727E8B9-E279-26F4-6A58-7833F89F1BEA}"/>
          </ac:spMkLst>
        </pc:spChg>
        <pc:picChg chg="del">
          <ac:chgData name="Coertze, Roelof" userId="f34fe284-20c3-480c-8d68-d60183ecdf6b" providerId="ADAL" clId="{088A9083-89BD-469B-ABE6-EFCA5AB8EDB8}" dt="2024-05-23T06:46:52.869" v="1189" actId="478"/>
          <ac:picMkLst>
            <pc:docMk/>
            <pc:sldMk cId="192109081" sldId="2147374418"/>
            <ac:picMk id="10" creationId="{A4B3F6EC-9E28-FAAF-B678-BC3070D7539E}"/>
          </ac:picMkLst>
        </pc:picChg>
        <pc:picChg chg="mod">
          <ac:chgData name="Coertze, Roelof" userId="f34fe284-20c3-480c-8d68-d60183ecdf6b" providerId="ADAL" clId="{088A9083-89BD-469B-ABE6-EFCA5AB8EDB8}" dt="2024-05-23T06:47:57.254" v="1251" actId="1076"/>
          <ac:picMkLst>
            <pc:docMk/>
            <pc:sldMk cId="192109081" sldId="2147374418"/>
            <ac:picMk id="15" creationId="{6592D775-5B21-43D1-997E-9AF95803CF9A}"/>
          </ac:picMkLst>
        </pc:picChg>
      </pc:sldChg>
      <pc:sldChg chg="addSp delSp modSp new mod modClrScheme chgLayout">
        <pc:chgData name="Coertze, Roelof" userId="f34fe284-20c3-480c-8d68-d60183ecdf6b" providerId="ADAL" clId="{088A9083-89BD-469B-ABE6-EFCA5AB8EDB8}" dt="2024-05-28T06:18:29.391" v="7114" actId="20577"/>
        <pc:sldMkLst>
          <pc:docMk/>
          <pc:sldMk cId="3698058774" sldId="2147374419"/>
        </pc:sldMkLst>
        <pc:spChg chg="mod">
          <ac:chgData name="Coertze, Roelof" userId="f34fe284-20c3-480c-8d68-d60183ecdf6b" providerId="ADAL" clId="{088A9083-89BD-469B-ABE6-EFCA5AB8EDB8}" dt="2024-05-23T11:29:47.513" v="3850" actId="26606"/>
          <ac:spMkLst>
            <pc:docMk/>
            <pc:sldMk cId="3698058774" sldId="2147374419"/>
            <ac:spMk id="2" creationId="{DDD34158-1F2A-039C-DA48-8F32B095847B}"/>
          </ac:spMkLst>
        </pc:spChg>
        <pc:spChg chg="del">
          <ac:chgData name="Coertze, Roelof" userId="f34fe284-20c3-480c-8d68-d60183ecdf6b" providerId="ADAL" clId="{088A9083-89BD-469B-ABE6-EFCA5AB8EDB8}" dt="2024-05-23T11:29:47.513" v="3850" actId="26606"/>
          <ac:spMkLst>
            <pc:docMk/>
            <pc:sldMk cId="3698058774" sldId="2147374419"/>
            <ac:spMk id="3" creationId="{254EA1C9-DCEA-2458-3288-9E01C4ED59F4}"/>
          </ac:spMkLst>
        </pc:spChg>
        <pc:spChg chg="mod ord">
          <ac:chgData name="Coertze, Roelof" userId="f34fe284-20c3-480c-8d68-d60183ecdf6b" providerId="ADAL" clId="{088A9083-89BD-469B-ABE6-EFCA5AB8EDB8}" dt="2024-05-28T06:18:29.391" v="7114" actId="20577"/>
          <ac:spMkLst>
            <pc:docMk/>
            <pc:sldMk cId="3698058774" sldId="2147374419"/>
            <ac:spMk id="4" creationId="{B04D55C6-A363-1A95-1C00-8B684F7A8B36}"/>
          </ac:spMkLst>
        </pc:spChg>
        <pc:spChg chg="add mod">
          <ac:chgData name="Coertze, Roelof" userId="f34fe284-20c3-480c-8d68-d60183ecdf6b" providerId="ADAL" clId="{088A9083-89BD-469B-ABE6-EFCA5AB8EDB8}" dt="2024-05-23T11:30:34.133" v="3895" actId="1076"/>
          <ac:spMkLst>
            <pc:docMk/>
            <pc:sldMk cId="3698058774" sldId="2147374419"/>
            <ac:spMk id="7" creationId="{6B3ED2EE-EB0A-3896-7664-1FB40CED37ED}"/>
          </ac:spMkLst>
        </pc:spChg>
        <pc:spChg chg="add mod">
          <ac:chgData name="Coertze, Roelof" userId="f34fe284-20c3-480c-8d68-d60183ecdf6b" providerId="ADAL" clId="{088A9083-89BD-469B-ABE6-EFCA5AB8EDB8}" dt="2024-05-23T11:32:20.794" v="3937" actId="208"/>
          <ac:spMkLst>
            <pc:docMk/>
            <pc:sldMk cId="3698058774" sldId="2147374419"/>
            <ac:spMk id="8" creationId="{EF0A0B21-B9EC-F4BA-DF8C-E179EEC7D1E4}"/>
          </ac:spMkLst>
        </pc:spChg>
        <pc:spChg chg="add mod">
          <ac:chgData name="Coertze, Roelof" userId="f34fe284-20c3-480c-8d68-d60183ecdf6b" providerId="ADAL" clId="{088A9083-89BD-469B-ABE6-EFCA5AB8EDB8}" dt="2024-05-23T11:29:47.513" v="3850" actId="26606"/>
          <ac:spMkLst>
            <pc:docMk/>
            <pc:sldMk cId="3698058774" sldId="2147374419"/>
            <ac:spMk id="11" creationId="{6017FCC7-7D95-169E-E082-7B9BC04C40D6}"/>
          </ac:spMkLst>
        </pc:spChg>
        <pc:picChg chg="add mod">
          <ac:chgData name="Coertze, Roelof" userId="f34fe284-20c3-480c-8d68-d60183ecdf6b" providerId="ADAL" clId="{088A9083-89BD-469B-ABE6-EFCA5AB8EDB8}" dt="2024-05-23T11:30:39.091" v="3897" actId="14100"/>
          <ac:picMkLst>
            <pc:docMk/>
            <pc:sldMk cId="3698058774" sldId="2147374419"/>
            <ac:picMk id="6" creationId="{4F7F4991-8CBB-E571-1C24-7FB7F4F9B16E}"/>
          </ac:picMkLst>
        </pc:picChg>
      </pc:sldChg>
      <pc:sldChg chg="addSp modSp add mod">
        <pc:chgData name="Coertze, Roelof" userId="f34fe284-20c3-480c-8d68-d60183ecdf6b" providerId="ADAL" clId="{088A9083-89BD-469B-ABE6-EFCA5AB8EDB8}" dt="2024-05-23T11:35:33.867" v="4038" actId="12"/>
        <pc:sldMkLst>
          <pc:docMk/>
          <pc:sldMk cId="4179598224" sldId="2147374420"/>
        </pc:sldMkLst>
        <pc:spChg chg="mod">
          <ac:chgData name="Coertze, Roelof" userId="f34fe284-20c3-480c-8d68-d60183ecdf6b" providerId="ADAL" clId="{088A9083-89BD-469B-ABE6-EFCA5AB8EDB8}" dt="2024-05-23T11:34:01.257" v="3990" actId="20577"/>
          <ac:spMkLst>
            <pc:docMk/>
            <pc:sldMk cId="4179598224" sldId="2147374420"/>
            <ac:spMk id="2" creationId="{DDD34158-1F2A-039C-DA48-8F32B095847B}"/>
          </ac:spMkLst>
        </pc:spChg>
        <pc:spChg chg="mod">
          <ac:chgData name="Coertze, Roelof" userId="f34fe284-20c3-480c-8d68-d60183ecdf6b" providerId="ADAL" clId="{088A9083-89BD-469B-ABE6-EFCA5AB8EDB8}" dt="2024-05-23T11:35:33.867" v="4038" actId="12"/>
          <ac:spMkLst>
            <pc:docMk/>
            <pc:sldMk cId="4179598224" sldId="2147374420"/>
            <ac:spMk id="4" creationId="{B04D55C6-A363-1A95-1C00-8B684F7A8B36}"/>
          </ac:spMkLst>
        </pc:spChg>
        <pc:picChg chg="add mod ord modCrop">
          <ac:chgData name="Coertze, Roelof" userId="f34fe284-20c3-480c-8d68-d60183ecdf6b" providerId="ADAL" clId="{088A9083-89BD-469B-ABE6-EFCA5AB8EDB8}" dt="2024-05-23T09:01:28.023" v="3447" actId="167"/>
          <ac:picMkLst>
            <pc:docMk/>
            <pc:sldMk cId="4179598224" sldId="2147374420"/>
            <ac:picMk id="5" creationId="{D3961FB1-5D7C-133C-AB74-4E5670E3365C}"/>
          </ac:picMkLst>
        </pc:picChg>
      </pc:sldChg>
      <pc:sldChg chg="addSp delSp modSp new mod">
        <pc:chgData name="Coertze, Roelof" userId="f34fe284-20c3-480c-8d68-d60183ecdf6b" providerId="ADAL" clId="{088A9083-89BD-469B-ABE6-EFCA5AB8EDB8}" dt="2024-05-28T06:20:21.297" v="7131" actId="1035"/>
        <pc:sldMkLst>
          <pc:docMk/>
          <pc:sldMk cId="3702514637" sldId="2147374421"/>
        </pc:sldMkLst>
        <pc:spChg chg="mod">
          <ac:chgData name="Coertze, Roelof" userId="f34fe284-20c3-480c-8d68-d60183ecdf6b" providerId="ADAL" clId="{088A9083-89BD-469B-ABE6-EFCA5AB8EDB8}" dt="2024-05-28T06:20:12.321" v="7115" actId="20577"/>
          <ac:spMkLst>
            <pc:docMk/>
            <pc:sldMk cId="3702514637" sldId="2147374421"/>
            <ac:spMk id="2" creationId="{73AE3C8C-D526-25FE-3700-24E49BDFCD89}"/>
          </ac:spMkLst>
        </pc:spChg>
        <pc:spChg chg="mod">
          <ac:chgData name="Coertze, Roelof" userId="f34fe284-20c3-480c-8d68-d60183ecdf6b" providerId="ADAL" clId="{088A9083-89BD-469B-ABE6-EFCA5AB8EDB8}" dt="2024-05-28T06:20:21.297" v="7131" actId="1035"/>
          <ac:spMkLst>
            <pc:docMk/>
            <pc:sldMk cId="3702514637" sldId="2147374421"/>
            <ac:spMk id="4" creationId="{E79FB8BA-50AE-1F1E-DA56-ACF82A628F02}"/>
          </ac:spMkLst>
        </pc:spChg>
        <pc:spChg chg="add mod">
          <ac:chgData name="Coertze, Roelof" userId="f34fe284-20c3-480c-8d68-d60183ecdf6b" providerId="ADAL" clId="{088A9083-89BD-469B-ABE6-EFCA5AB8EDB8}" dt="2024-05-23T08:29:09.437" v="2929"/>
          <ac:spMkLst>
            <pc:docMk/>
            <pc:sldMk cId="3702514637" sldId="2147374421"/>
            <ac:spMk id="9" creationId="{7B99B250-8301-3E1E-1331-0F6083938C7B}"/>
          </ac:spMkLst>
        </pc:spChg>
        <pc:spChg chg="add mod">
          <ac:chgData name="Coertze, Roelof" userId="f34fe284-20c3-480c-8d68-d60183ecdf6b" providerId="ADAL" clId="{088A9083-89BD-469B-ABE6-EFCA5AB8EDB8}" dt="2024-05-23T08:29:01.199" v="2928"/>
          <ac:spMkLst>
            <pc:docMk/>
            <pc:sldMk cId="3702514637" sldId="2147374421"/>
            <ac:spMk id="10" creationId="{6AA08F09-5985-8551-D23B-92100AE89765}"/>
          </ac:spMkLst>
        </pc:spChg>
        <pc:spChg chg="add mod">
          <ac:chgData name="Coertze, Roelof" userId="f34fe284-20c3-480c-8d68-d60183ecdf6b" providerId="ADAL" clId="{088A9083-89BD-469B-ABE6-EFCA5AB8EDB8}" dt="2024-05-23T08:29:01.199" v="2928"/>
          <ac:spMkLst>
            <pc:docMk/>
            <pc:sldMk cId="3702514637" sldId="2147374421"/>
            <ac:spMk id="11" creationId="{9519F456-EE67-60A0-2B1F-9BFCD16C0DED}"/>
          </ac:spMkLst>
        </pc:spChg>
        <pc:spChg chg="add mod">
          <ac:chgData name="Coertze, Roelof" userId="f34fe284-20c3-480c-8d68-d60183ecdf6b" providerId="ADAL" clId="{088A9083-89BD-469B-ABE6-EFCA5AB8EDB8}" dt="2024-05-23T08:29:01.199" v="2928"/>
          <ac:spMkLst>
            <pc:docMk/>
            <pc:sldMk cId="3702514637" sldId="2147374421"/>
            <ac:spMk id="12" creationId="{2C102C5F-56E1-4E82-9C04-32E41207B048}"/>
          </ac:spMkLst>
        </pc:spChg>
        <pc:spChg chg="add mod">
          <ac:chgData name="Coertze, Roelof" userId="f34fe284-20c3-480c-8d68-d60183ecdf6b" providerId="ADAL" clId="{088A9083-89BD-469B-ABE6-EFCA5AB8EDB8}" dt="2024-05-23T08:29:01.199" v="2928"/>
          <ac:spMkLst>
            <pc:docMk/>
            <pc:sldMk cId="3702514637" sldId="2147374421"/>
            <ac:spMk id="13" creationId="{6D660575-783F-00CD-1489-98CA739DF499}"/>
          </ac:spMkLst>
        </pc:spChg>
        <pc:spChg chg="add mod">
          <ac:chgData name="Coertze, Roelof" userId="f34fe284-20c3-480c-8d68-d60183ecdf6b" providerId="ADAL" clId="{088A9083-89BD-469B-ABE6-EFCA5AB8EDB8}" dt="2024-05-23T08:29:01.199" v="2928"/>
          <ac:spMkLst>
            <pc:docMk/>
            <pc:sldMk cId="3702514637" sldId="2147374421"/>
            <ac:spMk id="14" creationId="{A9861F4A-0408-3036-1176-EBCBA74284F6}"/>
          </ac:spMkLst>
        </pc:spChg>
        <pc:spChg chg="add mod">
          <ac:chgData name="Coertze, Roelof" userId="f34fe284-20c3-480c-8d68-d60183ecdf6b" providerId="ADAL" clId="{088A9083-89BD-469B-ABE6-EFCA5AB8EDB8}" dt="2024-05-23T08:29:01.199" v="2928"/>
          <ac:spMkLst>
            <pc:docMk/>
            <pc:sldMk cId="3702514637" sldId="2147374421"/>
            <ac:spMk id="15" creationId="{180FB79A-8EF5-56DC-92A8-6C3FAA15E70C}"/>
          </ac:spMkLst>
        </pc:spChg>
        <pc:spChg chg="add mod">
          <ac:chgData name="Coertze, Roelof" userId="f34fe284-20c3-480c-8d68-d60183ecdf6b" providerId="ADAL" clId="{088A9083-89BD-469B-ABE6-EFCA5AB8EDB8}" dt="2024-05-23T08:29:01.199" v="2928"/>
          <ac:spMkLst>
            <pc:docMk/>
            <pc:sldMk cId="3702514637" sldId="2147374421"/>
            <ac:spMk id="16" creationId="{2E4E183F-EAE4-B8D9-496D-E67C03D84BE2}"/>
          </ac:spMkLst>
        </pc:spChg>
        <pc:spChg chg="add mod">
          <ac:chgData name="Coertze, Roelof" userId="f34fe284-20c3-480c-8d68-d60183ecdf6b" providerId="ADAL" clId="{088A9083-89BD-469B-ABE6-EFCA5AB8EDB8}" dt="2024-05-23T08:29:01.199" v="2928"/>
          <ac:spMkLst>
            <pc:docMk/>
            <pc:sldMk cId="3702514637" sldId="2147374421"/>
            <ac:spMk id="17" creationId="{31CB30F0-FE27-D6C9-EEC4-D6423592B1AE}"/>
          </ac:spMkLst>
        </pc:spChg>
        <pc:spChg chg="add mod">
          <ac:chgData name="Coertze, Roelof" userId="f34fe284-20c3-480c-8d68-d60183ecdf6b" providerId="ADAL" clId="{088A9083-89BD-469B-ABE6-EFCA5AB8EDB8}" dt="2024-05-23T08:29:01.199" v="2928"/>
          <ac:spMkLst>
            <pc:docMk/>
            <pc:sldMk cId="3702514637" sldId="2147374421"/>
            <ac:spMk id="18" creationId="{D6833F2F-B095-E98F-2B9C-6329CA25122E}"/>
          </ac:spMkLst>
        </pc:spChg>
        <pc:spChg chg="add mod">
          <ac:chgData name="Coertze, Roelof" userId="f34fe284-20c3-480c-8d68-d60183ecdf6b" providerId="ADAL" clId="{088A9083-89BD-469B-ABE6-EFCA5AB8EDB8}" dt="2024-05-23T08:29:01.199" v="2928"/>
          <ac:spMkLst>
            <pc:docMk/>
            <pc:sldMk cId="3702514637" sldId="2147374421"/>
            <ac:spMk id="19" creationId="{FADF4686-4344-1DA5-1195-1909301800BB}"/>
          </ac:spMkLst>
        </pc:spChg>
        <pc:spChg chg="add mod">
          <ac:chgData name="Coertze, Roelof" userId="f34fe284-20c3-480c-8d68-d60183ecdf6b" providerId="ADAL" clId="{088A9083-89BD-469B-ABE6-EFCA5AB8EDB8}" dt="2024-05-23T08:29:01.199" v="2928"/>
          <ac:spMkLst>
            <pc:docMk/>
            <pc:sldMk cId="3702514637" sldId="2147374421"/>
            <ac:spMk id="20" creationId="{B4899155-4F4B-D36D-CD7E-FD26A5EF6609}"/>
          </ac:spMkLst>
        </pc:spChg>
        <pc:spChg chg="add mod">
          <ac:chgData name="Coertze, Roelof" userId="f34fe284-20c3-480c-8d68-d60183ecdf6b" providerId="ADAL" clId="{088A9083-89BD-469B-ABE6-EFCA5AB8EDB8}" dt="2024-05-23T08:29:01.199" v="2928"/>
          <ac:spMkLst>
            <pc:docMk/>
            <pc:sldMk cId="3702514637" sldId="2147374421"/>
            <ac:spMk id="21" creationId="{72ECF5EF-2C10-7A9A-6D5C-ACE7FDADDEF8}"/>
          </ac:spMkLst>
        </pc:spChg>
        <pc:spChg chg="add mod">
          <ac:chgData name="Coertze, Roelof" userId="f34fe284-20c3-480c-8d68-d60183ecdf6b" providerId="ADAL" clId="{088A9083-89BD-469B-ABE6-EFCA5AB8EDB8}" dt="2024-05-23T08:29:01.199" v="2928"/>
          <ac:spMkLst>
            <pc:docMk/>
            <pc:sldMk cId="3702514637" sldId="2147374421"/>
            <ac:spMk id="22" creationId="{89B98AD5-B2A5-181A-7245-C4452C359A4D}"/>
          </ac:spMkLst>
        </pc:spChg>
        <pc:spChg chg="add mod">
          <ac:chgData name="Coertze, Roelof" userId="f34fe284-20c3-480c-8d68-d60183ecdf6b" providerId="ADAL" clId="{088A9083-89BD-469B-ABE6-EFCA5AB8EDB8}" dt="2024-05-23T08:29:01.199" v="2928"/>
          <ac:spMkLst>
            <pc:docMk/>
            <pc:sldMk cId="3702514637" sldId="2147374421"/>
            <ac:spMk id="23" creationId="{8865C683-DEB1-C615-BEF6-CAF803DDCEB8}"/>
          </ac:spMkLst>
        </pc:spChg>
        <pc:spChg chg="add mod">
          <ac:chgData name="Coertze, Roelof" userId="f34fe284-20c3-480c-8d68-d60183ecdf6b" providerId="ADAL" clId="{088A9083-89BD-469B-ABE6-EFCA5AB8EDB8}" dt="2024-05-23T08:29:01.199" v="2928"/>
          <ac:spMkLst>
            <pc:docMk/>
            <pc:sldMk cId="3702514637" sldId="2147374421"/>
            <ac:spMk id="24" creationId="{1D10A52F-567E-84DB-426C-A4B50D345377}"/>
          </ac:spMkLst>
        </pc:spChg>
        <pc:spChg chg="add mod">
          <ac:chgData name="Coertze, Roelof" userId="f34fe284-20c3-480c-8d68-d60183ecdf6b" providerId="ADAL" clId="{088A9083-89BD-469B-ABE6-EFCA5AB8EDB8}" dt="2024-05-23T08:29:01.199" v="2928"/>
          <ac:spMkLst>
            <pc:docMk/>
            <pc:sldMk cId="3702514637" sldId="2147374421"/>
            <ac:spMk id="25" creationId="{0B5C0344-F470-4EEC-977B-A886BC9FB289}"/>
          </ac:spMkLst>
        </pc:spChg>
        <pc:spChg chg="add mod">
          <ac:chgData name="Coertze, Roelof" userId="f34fe284-20c3-480c-8d68-d60183ecdf6b" providerId="ADAL" clId="{088A9083-89BD-469B-ABE6-EFCA5AB8EDB8}" dt="2024-05-23T08:29:01.199" v="2928"/>
          <ac:spMkLst>
            <pc:docMk/>
            <pc:sldMk cId="3702514637" sldId="2147374421"/>
            <ac:spMk id="26" creationId="{9D013A12-189A-BA4F-DAAF-98A9FB181992}"/>
          </ac:spMkLst>
        </pc:spChg>
        <pc:picChg chg="add del">
          <ac:chgData name="Coertze, Roelof" userId="f34fe284-20c3-480c-8d68-d60183ecdf6b" providerId="ADAL" clId="{088A9083-89BD-469B-ABE6-EFCA5AB8EDB8}" dt="2024-05-23T08:20:22.060" v="2858" actId="478"/>
          <ac:picMkLst>
            <pc:docMk/>
            <pc:sldMk cId="3702514637" sldId="2147374421"/>
            <ac:picMk id="6" creationId="{B7040194-CE8D-1046-BFCC-5A11394E3A5F}"/>
          </ac:picMkLst>
        </pc:picChg>
        <pc:picChg chg="add del mod">
          <ac:chgData name="Coertze, Roelof" userId="f34fe284-20c3-480c-8d68-d60183ecdf6b" providerId="ADAL" clId="{088A9083-89BD-469B-ABE6-EFCA5AB8EDB8}" dt="2024-05-23T08:25:18.698" v="2905" actId="21"/>
          <ac:picMkLst>
            <pc:docMk/>
            <pc:sldMk cId="3702514637" sldId="2147374421"/>
            <ac:picMk id="8" creationId="{F09384B9-A87C-F41F-CB33-3FD986CF3825}"/>
          </ac:picMkLst>
        </pc:picChg>
        <pc:picChg chg="add mod">
          <ac:chgData name="Coertze, Roelof" userId="f34fe284-20c3-480c-8d68-d60183ecdf6b" providerId="ADAL" clId="{088A9083-89BD-469B-ABE6-EFCA5AB8EDB8}" dt="2024-05-23T08:29:44.600" v="2934" actId="14100"/>
          <ac:picMkLst>
            <pc:docMk/>
            <pc:sldMk cId="3702514637" sldId="2147374421"/>
            <ac:picMk id="27" creationId="{F79FDE6F-4913-5B0E-95A2-62AB8F9AACD5}"/>
          </ac:picMkLst>
        </pc:picChg>
        <pc:picChg chg="add mod">
          <ac:chgData name="Coertze, Roelof" userId="f34fe284-20c3-480c-8d68-d60183ecdf6b" providerId="ADAL" clId="{088A9083-89BD-469B-ABE6-EFCA5AB8EDB8}" dt="2024-05-28T06:20:21.297" v="7131" actId="1035"/>
          <ac:picMkLst>
            <pc:docMk/>
            <pc:sldMk cId="3702514637" sldId="2147374421"/>
            <ac:picMk id="28" creationId="{5319F0A7-5BDB-A98A-29DB-49848FA27B38}"/>
          </ac:picMkLst>
        </pc:picChg>
      </pc:sldChg>
      <pc:sldChg chg="addSp delSp modSp add mod modClrScheme chgLayout modNotesTx">
        <pc:chgData name="Coertze, Roelof" userId="f34fe284-20c3-480c-8d68-d60183ecdf6b" providerId="ADAL" clId="{088A9083-89BD-469B-ABE6-EFCA5AB8EDB8}" dt="2024-05-28T06:02:42.586" v="6865" actId="113"/>
        <pc:sldMkLst>
          <pc:docMk/>
          <pc:sldMk cId="2362917396" sldId="2147374422"/>
        </pc:sldMkLst>
        <pc:spChg chg="del mod ord">
          <ac:chgData name="Coertze, Roelof" userId="f34fe284-20c3-480c-8d68-d60183ecdf6b" providerId="ADAL" clId="{088A9083-89BD-469B-ABE6-EFCA5AB8EDB8}" dt="2024-05-23T08:16:09.966" v="2593" actId="478"/>
          <ac:spMkLst>
            <pc:docMk/>
            <pc:sldMk cId="2362917396" sldId="2147374422"/>
            <ac:spMk id="2" creationId="{DDD34158-1F2A-039C-DA48-8F32B095847B}"/>
          </ac:spMkLst>
        </pc:spChg>
        <pc:spChg chg="del mod ord">
          <ac:chgData name="Coertze, Roelof" userId="f34fe284-20c3-480c-8d68-d60183ecdf6b" providerId="ADAL" clId="{088A9083-89BD-469B-ABE6-EFCA5AB8EDB8}" dt="2024-05-23T08:16:01.827" v="2592" actId="700"/>
          <ac:spMkLst>
            <pc:docMk/>
            <pc:sldMk cId="2362917396" sldId="2147374422"/>
            <ac:spMk id="3" creationId="{254EA1C9-DCEA-2458-3288-9E01C4ED59F4}"/>
          </ac:spMkLst>
        </pc:spChg>
        <pc:spChg chg="mod ord">
          <ac:chgData name="Coertze, Roelof" userId="f34fe284-20c3-480c-8d68-d60183ecdf6b" providerId="ADAL" clId="{088A9083-89BD-469B-ABE6-EFCA5AB8EDB8}" dt="2024-05-28T06:02:35.356" v="6864" actId="1076"/>
          <ac:spMkLst>
            <pc:docMk/>
            <pc:sldMk cId="2362917396" sldId="2147374422"/>
            <ac:spMk id="4" creationId="{B04D55C6-A363-1A95-1C00-8B684F7A8B36}"/>
          </ac:spMkLst>
        </pc:spChg>
        <pc:spChg chg="add mod ord">
          <ac:chgData name="Coertze, Roelof" userId="f34fe284-20c3-480c-8d68-d60183ecdf6b" providerId="ADAL" clId="{088A9083-89BD-469B-ABE6-EFCA5AB8EDB8}" dt="2024-05-23T08:16:01.827" v="2592" actId="700"/>
          <ac:spMkLst>
            <pc:docMk/>
            <pc:sldMk cId="2362917396" sldId="2147374422"/>
            <ac:spMk id="5" creationId="{6C4ED4BC-7585-E55F-240F-84CC202D60F4}"/>
          </ac:spMkLst>
        </pc:spChg>
        <pc:spChg chg="add mod ord">
          <ac:chgData name="Coertze, Roelof" userId="f34fe284-20c3-480c-8d68-d60183ecdf6b" providerId="ADAL" clId="{088A9083-89BD-469B-ABE6-EFCA5AB8EDB8}" dt="2024-05-23T11:34:45.104" v="4010" actId="20577"/>
          <ac:spMkLst>
            <pc:docMk/>
            <pc:sldMk cId="2362917396" sldId="2147374422"/>
            <ac:spMk id="6" creationId="{F82B5B17-29F6-8DA5-0182-378E571D2C33}"/>
          </ac:spMkLst>
        </pc:spChg>
        <pc:spChg chg="add del mod ord">
          <ac:chgData name="Coertze, Roelof" userId="f34fe284-20c3-480c-8d68-d60183ecdf6b" providerId="ADAL" clId="{088A9083-89BD-469B-ABE6-EFCA5AB8EDB8}" dt="2024-05-23T11:47:04.896" v="4586" actId="478"/>
          <ac:spMkLst>
            <pc:docMk/>
            <pc:sldMk cId="2362917396" sldId="2147374422"/>
            <ac:spMk id="7" creationId="{3C1EE916-5BD0-4309-3307-0C24EEBA612B}"/>
          </ac:spMkLst>
        </pc:spChg>
        <pc:spChg chg="add del">
          <ac:chgData name="Coertze, Roelof" userId="f34fe284-20c3-480c-8d68-d60183ecdf6b" providerId="ADAL" clId="{088A9083-89BD-469B-ABE6-EFCA5AB8EDB8}" dt="2024-05-23T08:17:21.326" v="2734" actId="478"/>
          <ac:spMkLst>
            <pc:docMk/>
            <pc:sldMk cId="2362917396" sldId="2147374422"/>
            <ac:spMk id="9" creationId="{C49DE954-6E03-140C-4261-E9A9E934B9F3}"/>
          </ac:spMkLst>
        </pc:spChg>
        <pc:spChg chg="add del mod">
          <ac:chgData name="Coertze, Roelof" userId="f34fe284-20c3-480c-8d68-d60183ecdf6b" providerId="ADAL" clId="{088A9083-89BD-469B-ABE6-EFCA5AB8EDB8}" dt="2024-05-23T11:38:39.460" v="4318" actId="21"/>
          <ac:spMkLst>
            <pc:docMk/>
            <pc:sldMk cId="2362917396" sldId="2147374422"/>
            <ac:spMk id="10" creationId="{FAAC1276-E4D7-96A7-B6FF-1B918FFA8332}"/>
          </ac:spMkLst>
        </pc:spChg>
        <pc:spChg chg="add del mod">
          <ac:chgData name="Coertze, Roelof" userId="f34fe284-20c3-480c-8d68-d60183ecdf6b" providerId="ADAL" clId="{088A9083-89BD-469B-ABE6-EFCA5AB8EDB8}" dt="2024-05-23T11:35:43.139" v="4040" actId="478"/>
          <ac:spMkLst>
            <pc:docMk/>
            <pc:sldMk cId="2362917396" sldId="2147374422"/>
            <ac:spMk id="16" creationId="{BCCAD09B-3CB2-3DCA-C02D-C53BC492CE0D}"/>
          </ac:spMkLst>
        </pc:spChg>
        <pc:spChg chg="add mod">
          <ac:chgData name="Coertze, Roelof" userId="f34fe284-20c3-480c-8d68-d60183ecdf6b" providerId="ADAL" clId="{088A9083-89BD-469B-ABE6-EFCA5AB8EDB8}" dt="2024-05-28T06:02:42.586" v="6865" actId="113"/>
          <ac:spMkLst>
            <pc:docMk/>
            <pc:sldMk cId="2362917396" sldId="2147374422"/>
            <ac:spMk id="17" creationId="{20A0EAD6-FB3D-7A02-9229-6A82F6BA883A}"/>
          </ac:spMkLst>
        </pc:spChg>
        <pc:spChg chg="add del mod">
          <ac:chgData name="Coertze, Roelof" userId="f34fe284-20c3-480c-8d68-d60183ecdf6b" providerId="ADAL" clId="{088A9083-89BD-469B-ABE6-EFCA5AB8EDB8}" dt="2024-05-23T12:20:25.305" v="6552" actId="478"/>
          <ac:spMkLst>
            <pc:docMk/>
            <pc:sldMk cId="2362917396" sldId="2147374422"/>
            <ac:spMk id="18" creationId="{1862A69A-458F-BC43-AA6A-B5C8E5FB87FF}"/>
          </ac:spMkLst>
        </pc:spChg>
        <pc:spChg chg="add mod">
          <ac:chgData name="Coertze, Roelof" userId="f34fe284-20c3-480c-8d68-d60183ecdf6b" providerId="ADAL" clId="{088A9083-89BD-469B-ABE6-EFCA5AB8EDB8}" dt="2024-05-23T12:20:15.997" v="6550" actId="12788"/>
          <ac:spMkLst>
            <pc:docMk/>
            <pc:sldMk cId="2362917396" sldId="2147374422"/>
            <ac:spMk id="19" creationId="{FAAC1276-E4D7-96A7-B6FF-1B918FFA8332}"/>
          </ac:spMkLst>
        </pc:spChg>
        <pc:spChg chg="add mod">
          <ac:chgData name="Coertze, Roelof" userId="f34fe284-20c3-480c-8d68-d60183ecdf6b" providerId="ADAL" clId="{088A9083-89BD-469B-ABE6-EFCA5AB8EDB8}" dt="2024-05-23T12:20:15.997" v="6550" actId="12788"/>
          <ac:spMkLst>
            <pc:docMk/>
            <pc:sldMk cId="2362917396" sldId="2147374422"/>
            <ac:spMk id="21" creationId="{A8C171A5-6E17-D4B6-DBC3-5EAB3B4422DE}"/>
          </ac:spMkLst>
        </pc:spChg>
        <pc:spChg chg="add del">
          <ac:chgData name="Coertze, Roelof" userId="f34fe284-20c3-480c-8d68-d60183ecdf6b" providerId="ADAL" clId="{088A9083-89BD-469B-ABE6-EFCA5AB8EDB8}" dt="2024-05-23T12:20:30.017" v="6554" actId="11529"/>
          <ac:spMkLst>
            <pc:docMk/>
            <pc:sldMk cId="2362917396" sldId="2147374422"/>
            <ac:spMk id="24" creationId="{75AA338C-3981-8ACA-5D11-E4001B13440E}"/>
          </ac:spMkLst>
        </pc:spChg>
        <pc:spChg chg="add mod">
          <ac:chgData name="Coertze, Roelof" userId="f34fe284-20c3-480c-8d68-d60183ecdf6b" providerId="ADAL" clId="{088A9083-89BD-469B-ABE6-EFCA5AB8EDB8}" dt="2024-05-23T12:20:40.710" v="6558" actId="1076"/>
          <ac:spMkLst>
            <pc:docMk/>
            <pc:sldMk cId="2362917396" sldId="2147374422"/>
            <ac:spMk id="25" creationId="{315258A9-CA5C-4B3C-70E7-FAEE9597FA94}"/>
          </ac:spMkLst>
        </pc:spChg>
        <pc:picChg chg="add mod modCrop">
          <ac:chgData name="Coertze, Roelof" userId="f34fe284-20c3-480c-8d68-d60183ecdf6b" providerId="ADAL" clId="{088A9083-89BD-469B-ABE6-EFCA5AB8EDB8}" dt="2024-05-23T11:45:56.640" v="4584" actId="1076"/>
          <ac:picMkLst>
            <pc:docMk/>
            <pc:sldMk cId="2362917396" sldId="2147374422"/>
            <ac:picMk id="11" creationId="{E678C726-BFB3-ED11-4DAA-2B22AC3CECBC}"/>
          </ac:picMkLst>
        </pc:picChg>
        <pc:picChg chg="add del mod">
          <ac:chgData name="Coertze, Roelof" userId="f34fe284-20c3-480c-8d68-d60183ecdf6b" providerId="ADAL" clId="{088A9083-89BD-469B-ABE6-EFCA5AB8EDB8}" dt="2024-05-23T11:38:39.460" v="4318" actId="21"/>
          <ac:picMkLst>
            <pc:docMk/>
            <pc:sldMk cId="2362917396" sldId="2147374422"/>
            <ac:picMk id="13" creationId="{07550EC7-AF20-401B-543D-8B690896A13D}"/>
          </ac:picMkLst>
        </pc:picChg>
        <pc:picChg chg="add mod">
          <ac:chgData name="Coertze, Roelof" userId="f34fe284-20c3-480c-8d68-d60183ecdf6b" providerId="ADAL" clId="{088A9083-89BD-469B-ABE6-EFCA5AB8EDB8}" dt="2024-05-23T11:45:56.640" v="4584" actId="1076"/>
          <ac:picMkLst>
            <pc:docMk/>
            <pc:sldMk cId="2362917396" sldId="2147374422"/>
            <ac:picMk id="15" creationId="{D80C3CF1-2A70-1495-2079-600B72625605}"/>
          </ac:picMkLst>
        </pc:picChg>
        <pc:picChg chg="add mod ord">
          <ac:chgData name="Coertze, Roelof" userId="f34fe284-20c3-480c-8d68-d60183ecdf6b" providerId="ADAL" clId="{088A9083-89BD-469B-ABE6-EFCA5AB8EDB8}" dt="2024-05-23T12:20:15.997" v="6550" actId="12788"/>
          <ac:picMkLst>
            <pc:docMk/>
            <pc:sldMk cId="2362917396" sldId="2147374422"/>
            <ac:picMk id="20" creationId="{07550EC7-AF20-401B-543D-8B690896A13D}"/>
          </ac:picMkLst>
        </pc:picChg>
        <pc:picChg chg="add mod ord">
          <ac:chgData name="Coertze, Roelof" userId="f34fe284-20c3-480c-8d68-d60183ecdf6b" providerId="ADAL" clId="{088A9083-89BD-469B-ABE6-EFCA5AB8EDB8}" dt="2024-05-23T12:20:15.997" v="6550" actId="12788"/>
          <ac:picMkLst>
            <pc:docMk/>
            <pc:sldMk cId="2362917396" sldId="2147374422"/>
            <ac:picMk id="23" creationId="{B6A23839-C1F4-778A-52BB-14E27CCA1C59}"/>
          </ac:picMkLst>
        </pc:picChg>
      </pc:sldChg>
      <pc:sldChg chg="addSp delSp modSp add mod">
        <pc:chgData name="Coertze, Roelof" userId="f34fe284-20c3-480c-8d68-d60183ecdf6b" providerId="ADAL" clId="{088A9083-89BD-469B-ABE6-EFCA5AB8EDB8}" dt="2024-05-23T12:22:51.568" v="6593" actId="14100"/>
        <pc:sldMkLst>
          <pc:docMk/>
          <pc:sldMk cId="1522051768" sldId="2147374423"/>
        </pc:sldMkLst>
        <pc:spChg chg="mod">
          <ac:chgData name="Coertze, Roelof" userId="f34fe284-20c3-480c-8d68-d60183ecdf6b" providerId="ADAL" clId="{088A9083-89BD-469B-ABE6-EFCA5AB8EDB8}" dt="2024-05-23T12:06:52.491" v="5974" actId="20577"/>
          <ac:spMkLst>
            <pc:docMk/>
            <pc:sldMk cId="1522051768" sldId="2147374423"/>
            <ac:spMk id="2" creationId="{73AE3C8C-D526-25FE-3700-24E49BDFCD89}"/>
          </ac:spMkLst>
        </pc:spChg>
        <pc:spChg chg="mod">
          <ac:chgData name="Coertze, Roelof" userId="f34fe284-20c3-480c-8d68-d60183ecdf6b" providerId="ADAL" clId="{088A9083-89BD-469B-ABE6-EFCA5AB8EDB8}" dt="2024-05-23T12:07:39.716" v="6126" actId="20577"/>
          <ac:spMkLst>
            <pc:docMk/>
            <pc:sldMk cId="1522051768" sldId="2147374423"/>
            <ac:spMk id="4" creationId="{E79FB8BA-50AE-1F1E-DA56-ACF82A628F02}"/>
          </ac:spMkLst>
        </pc:spChg>
        <pc:picChg chg="add del mod">
          <ac:chgData name="Coertze, Roelof" userId="f34fe284-20c3-480c-8d68-d60183ecdf6b" providerId="ADAL" clId="{088A9083-89BD-469B-ABE6-EFCA5AB8EDB8}" dt="2024-05-23T10:44:48.108" v="3570" actId="478"/>
          <ac:picMkLst>
            <pc:docMk/>
            <pc:sldMk cId="1522051768" sldId="2147374423"/>
            <ac:picMk id="6" creationId="{B7040194-CE8D-1046-BFCC-5A11394E3A5F}"/>
          </ac:picMkLst>
        </pc:picChg>
        <pc:picChg chg="add mod modCrop">
          <ac:chgData name="Coertze, Roelof" userId="f34fe284-20c3-480c-8d68-d60183ecdf6b" providerId="ADAL" clId="{088A9083-89BD-469B-ABE6-EFCA5AB8EDB8}" dt="2024-05-23T12:22:51.568" v="6593" actId="14100"/>
          <ac:picMkLst>
            <pc:docMk/>
            <pc:sldMk cId="1522051768" sldId="2147374423"/>
            <ac:picMk id="7" creationId="{44ED7596-2C9B-CF01-74EA-2AB597C7B34E}"/>
          </ac:picMkLst>
        </pc:picChg>
        <pc:picChg chg="add del mod">
          <ac:chgData name="Coertze, Roelof" userId="f34fe284-20c3-480c-8d68-d60183ecdf6b" providerId="ADAL" clId="{088A9083-89BD-469B-ABE6-EFCA5AB8EDB8}" dt="2024-05-23T10:44:55.209" v="3573" actId="478"/>
          <ac:picMkLst>
            <pc:docMk/>
            <pc:sldMk cId="1522051768" sldId="2147374423"/>
            <ac:picMk id="8" creationId="{F09384B9-A87C-F41F-CB33-3FD986CF3825}"/>
          </ac:picMkLst>
        </pc:picChg>
      </pc:sldChg>
      <pc:sldChg chg="addSp delSp modSp new mod ord">
        <pc:chgData name="Coertze, Roelof" userId="f34fe284-20c3-480c-8d68-d60183ecdf6b" providerId="ADAL" clId="{088A9083-89BD-469B-ABE6-EFCA5AB8EDB8}" dt="2024-05-23T11:49:46.732" v="4954" actId="1036"/>
        <pc:sldMkLst>
          <pc:docMk/>
          <pc:sldMk cId="4026324113" sldId="2147374424"/>
        </pc:sldMkLst>
        <pc:spChg chg="mod">
          <ac:chgData name="Coertze, Roelof" userId="f34fe284-20c3-480c-8d68-d60183ecdf6b" providerId="ADAL" clId="{088A9083-89BD-469B-ABE6-EFCA5AB8EDB8}" dt="2024-05-23T11:48:14.956" v="4719" actId="20577"/>
          <ac:spMkLst>
            <pc:docMk/>
            <pc:sldMk cId="4026324113" sldId="2147374424"/>
            <ac:spMk id="2" creationId="{5473A16C-210F-F5A0-8820-5C7E9FA4FF23}"/>
          </ac:spMkLst>
        </pc:spChg>
        <pc:spChg chg="mod">
          <ac:chgData name="Coertze, Roelof" userId="f34fe284-20c3-480c-8d68-d60183ecdf6b" providerId="ADAL" clId="{088A9083-89BD-469B-ABE6-EFCA5AB8EDB8}" dt="2024-05-23T11:49:41.018" v="4933" actId="20577"/>
          <ac:spMkLst>
            <pc:docMk/>
            <pc:sldMk cId="4026324113" sldId="2147374424"/>
            <ac:spMk id="4" creationId="{695BE01F-3CB1-DAB5-3F51-888401749B4D}"/>
          </ac:spMkLst>
        </pc:spChg>
        <pc:spChg chg="add del mod">
          <ac:chgData name="Coertze, Roelof" userId="f34fe284-20c3-480c-8d68-d60183ecdf6b" providerId="ADAL" clId="{088A9083-89BD-469B-ABE6-EFCA5AB8EDB8}" dt="2024-05-23T08:30:42.536" v="2940" actId="478"/>
          <ac:spMkLst>
            <pc:docMk/>
            <pc:sldMk cId="4026324113" sldId="2147374424"/>
            <ac:spMk id="5" creationId="{65E5C070-C709-C4D5-2AFD-B38015AB3B57}"/>
          </ac:spMkLst>
        </pc:spChg>
        <pc:spChg chg="add del mod">
          <ac:chgData name="Coertze, Roelof" userId="f34fe284-20c3-480c-8d68-d60183ecdf6b" providerId="ADAL" clId="{088A9083-89BD-469B-ABE6-EFCA5AB8EDB8}" dt="2024-05-23T11:48:21.667" v="4720" actId="478"/>
          <ac:spMkLst>
            <pc:docMk/>
            <pc:sldMk cId="4026324113" sldId="2147374424"/>
            <ac:spMk id="6" creationId="{ED442CC3-1B0F-F60B-272A-2C53092169BB}"/>
          </ac:spMkLst>
        </pc:spChg>
        <pc:graphicFrameChg chg="add del mod">
          <ac:chgData name="Coertze, Roelof" userId="f34fe284-20c3-480c-8d68-d60183ecdf6b" providerId="ADAL" clId="{088A9083-89BD-469B-ABE6-EFCA5AB8EDB8}" dt="2024-05-23T11:48:25.030" v="4721" actId="478"/>
          <ac:graphicFrameMkLst>
            <pc:docMk/>
            <pc:sldMk cId="4026324113" sldId="2147374424"/>
            <ac:graphicFrameMk id="8" creationId="{65626472-EA1B-A5D1-70D6-B556718AAC56}"/>
          </ac:graphicFrameMkLst>
        </pc:graphicFrameChg>
        <pc:picChg chg="add mod">
          <ac:chgData name="Coertze, Roelof" userId="f34fe284-20c3-480c-8d68-d60183ecdf6b" providerId="ADAL" clId="{088A9083-89BD-469B-ABE6-EFCA5AB8EDB8}" dt="2024-05-23T11:49:46.732" v="4954" actId="1036"/>
          <ac:picMkLst>
            <pc:docMk/>
            <pc:sldMk cId="4026324113" sldId="2147374424"/>
            <ac:picMk id="7" creationId="{D783541B-B8E8-DF69-F629-A569F48E3B69}"/>
          </ac:picMkLst>
        </pc:picChg>
        <pc:picChg chg="add del mod">
          <ac:chgData name="Coertze, Roelof" userId="f34fe284-20c3-480c-8d68-d60183ecdf6b" providerId="ADAL" clId="{088A9083-89BD-469B-ABE6-EFCA5AB8EDB8}" dt="2024-05-23T11:48:30.992" v="4722" actId="478"/>
          <ac:picMkLst>
            <pc:docMk/>
            <pc:sldMk cId="4026324113" sldId="2147374424"/>
            <ac:picMk id="10" creationId="{856E1730-37A0-31BD-6E4D-1A7D7C93432A}"/>
          </ac:picMkLst>
        </pc:picChg>
      </pc:sldChg>
      <pc:sldChg chg="addSp delSp modSp new mod">
        <pc:chgData name="Coertze, Roelof" userId="f34fe284-20c3-480c-8d68-d60183ecdf6b" providerId="ADAL" clId="{088A9083-89BD-469B-ABE6-EFCA5AB8EDB8}" dt="2024-05-28T06:21:03.395" v="7151" actId="20577"/>
        <pc:sldMkLst>
          <pc:docMk/>
          <pc:sldMk cId="3982898989" sldId="2147374425"/>
        </pc:sldMkLst>
        <pc:spChg chg="mod">
          <ac:chgData name="Coertze, Roelof" userId="f34fe284-20c3-480c-8d68-d60183ecdf6b" providerId="ADAL" clId="{088A9083-89BD-469B-ABE6-EFCA5AB8EDB8}" dt="2024-05-23T12:21:14.431" v="6575" actId="14100"/>
          <ac:spMkLst>
            <pc:docMk/>
            <pc:sldMk cId="3982898989" sldId="2147374425"/>
            <ac:spMk id="2" creationId="{9BB78E3F-0A75-58ED-B14C-BA88C0AC388B}"/>
          </ac:spMkLst>
        </pc:spChg>
        <pc:spChg chg="mod">
          <ac:chgData name="Coertze, Roelof" userId="f34fe284-20c3-480c-8d68-d60183ecdf6b" providerId="ADAL" clId="{088A9083-89BD-469B-ABE6-EFCA5AB8EDB8}" dt="2024-05-28T06:21:03.395" v="7151" actId="20577"/>
          <ac:spMkLst>
            <pc:docMk/>
            <pc:sldMk cId="3982898989" sldId="2147374425"/>
            <ac:spMk id="4" creationId="{5CA931D0-8EA5-2C47-77D3-30DCB52DF892}"/>
          </ac:spMkLst>
        </pc:spChg>
        <pc:spChg chg="add mod">
          <ac:chgData name="Coertze, Roelof" userId="f34fe284-20c3-480c-8d68-d60183ecdf6b" providerId="ADAL" clId="{088A9083-89BD-469B-ABE6-EFCA5AB8EDB8}" dt="2024-05-23T08:47:47.242" v="3293" actId="1076"/>
          <ac:spMkLst>
            <pc:docMk/>
            <pc:sldMk cId="3982898989" sldId="2147374425"/>
            <ac:spMk id="5" creationId="{B7E6E9AD-0610-8BEE-2A80-69C98BA806B4}"/>
          </ac:spMkLst>
        </pc:spChg>
        <pc:spChg chg="add del mod">
          <ac:chgData name="Coertze, Roelof" userId="f34fe284-20c3-480c-8d68-d60183ecdf6b" providerId="ADAL" clId="{088A9083-89BD-469B-ABE6-EFCA5AB8EDB8}" dt="2024-05-23T08:48:03.705" v="3297" actId="478"/>
          <ac:spMkLst>
            <pc:docMk/>
            <pc:sldMk cId="3982898989" sldId="2147374425"/>
            <ac:spMk id="6" creationId="{8C744BF5-92D9-C6DF-1279-8C44181554C4}"/>
          </ac:spMkLst>
        </pc:spChg>
        <pc:spChg chg="add del mod">
          <ac:chgData name="Coertze, Roelof" userId="f34fe284-20c3-480c-8d68-d60183ecdf6b" providerId="ADAL" clId="{088A9083-89BD-469B-ABE6-EFCA5AB8EDB8}" dt="2024-05-23T11:55:22.088" v="5235" actId="478"/>
          <ac:spMkLst>
            <pc:docMk/>
            <pc:sldMk cId="3982898989" sldId="2147374425"/>
            <ac:spMk id="8" creationId="{0213E28F-5FC8-9459-3BC8-19E33388FC6F}"/>
          </ac:spMkLst>
        </pc:spChg>
        <pc:spChg chg="add del mod">
          <ac:chgData name="Coertze, Roelof" userId="f34fe284-20c3-480c-8d68-d60183ecdf6b" providerId="ADAL" clId="{088A9083-89BD-469B-ABE6-EFCA5AB8EDB8}" dt="2024-05-23T11:59:08.036" v="5416" actId="478"/>
          <ac:spMkLst>
            <pc:docMk/>
            <pc:sldMk cId="3982898989" sldId="2147374425"/>
            <ac:spMk id="9" creationId="{671EF899-655B-62D7-3C9D-2818A58E4517}"/>
          </ac:spMkLst>
        </pc:spChg>
        <pc:spChg chg="add del mod">
          <ac:chgData name="Coertze, Roelof" userId="f34fe284-20c3-480c-8d68-d60183ecdf6b" providerId="ADAL" clId="{088A9083-89BD-469B-ABE6-EFCA5AB8EDB8}" dt="2024-05-23T11:58:34.215" v="5413" actId="478"/>
          <ac:spMkLst>
            <pc:docMk/>
            <pc:sldMk cId="3982898989" sldId="2147374425"/>
            <ac:spMk id="10" creationId="{A6987AC8-82AB-AF73-FB53-517404A53E70}"/>
          </ac:spMkLst>
        </pc:spChg>
        <pc:spChg chg="add del mod">
          <ac:chgData name="Coertze, Roelof" userId="f34fe284-20c3-480c-8d68-d60183ecdf6b" providerId="ADAL" clId="{088A9083-89BD-469B-ABE6-EFCA5AB8EDB8}" dt="2024-05-23T11:56:54.429" v="5336" actId="478"/>
          <ac:spMkLst>
            <pc:docMk/>
            <pc:sldMk cId="3982898989" sldId="2147374425"/>
            <ac:spMk id="11" creationId="{3D3E71FC-B97B-75CF-894F-9A5DF433A794}"/>
          </ac:spMkLst>
        </pc:spChg>
        <pc:graphicFrameChg chg="add mod ord modGraphic">
          <ac:chgData name="Coertze, Roelof" userId="f34fe284-20c3-480c-8d68-d60183ecdf6b" providerId="ADAL" clId="{088A9083-89BD-469B-ABE6-EFCA5AB8EDB8}" dt="2024-05-23T12:22:24.158" v="6591" actId="14734"/>
          <ac:graphicFrameMkLst>
            <pc:docMk/>
            <pc:sldMk cId="3982898989" sldId="2147374425"/>
            <ac:graphicFrameMk id="7" creationId="{22DF26A1-1104-F6FC-3FAC-BDD1B575D1EE}"/>
          </ac:graphicFrameMkLst>
        </pc:graphicFrameChg>
        <pc:graphicFrameChg chg="add del mod">
          <ac:chgData name="Coertze, Roelof" userId="f34fe284-20c3-480c-8d68-d60183ecdf6b" providerId="ADAL" clId="{088A9083-89BD-469B-ABE6-EFCA5AB8EDB8}" dt="2024-05-23T12:06:07.209" v="5910" actId="478"/>
          <ac:graphicFrameMkLst>
            <pc:docMk/>
            <pc:sldMk cId="3982898989" sldId="2147374425"/>
            <ac:graphicFrameMk id="12" creationId="{0270FCA9-72DE-3C56-FDC2-40F9AD8FD142}"/>
          </ac:graphicFrameMkLst>
        </pc:graphicFrameChg>
        <pc:graphicFrameChg chg="add del mod">
          <ac:chgData name="Coertze, Roelof" userId="f34fe284-20c3-480c-8d68-d60183ecdf6b" providerId="ADAL" clId="{088A9083-89BD-469B-ABE6-EFCA5AB8EDB8}" dt="2024-05-23T12:06:02.829" v="5909" actId="478"/>
          <ac:graphicFrameMkLst>
            <pc:docMk/>
            <pc:sldMk cId="3982898989" sldId="2147374425"/>
            <ac:graphicFrameMk id="13" creationId="{90B70FB5-8A9A-CE46-CA42-56322152A917}"/>
          </ac:graphicFrameMkLst>
        </pc:graphicFrameChg>
        <pc:picChg chg="add del mod">
          <ac:chgData name="Coertze, Roelof" userId="f34fe284-20c3-480c-8d68-d60183ecdf6b" providerId="ADAL" clId="{088A9083-89BD-469B-ABE6-EFCA5AB8EDB8}" dt="2024-05-23T08:47:57.734" v="3295" actId="478"/>
          <ac:picMkLst>
            <pc:docMk/>
            <pc:sldMk cId="3982898989" sldId="2147374425"/>
            <ac:picMk id="4097" creationId="{151A6BA1-962A-BCD0-C2AF-8B022FB03819}"/>
          </ac:picMkLst>
        </pc:picChg>
      </pc:sldChg>
      <pc:sldChg chg="new del">
        <pc:chgData name="Coertze, Roelof" userId="f34fe284-20c3-480c-8d68-d60183ecdf6b" providerId="ADAL" clId="{088A9083-89BD-469B-ABE6-EFCA5AB8EDB8}" dt="2024-05-23T12:19:35.829" v="6541" actId="47"/>
        <pc:sldMkLst>
          <pc:docMk/>
          <pc:sldMk cId="2034451376" sldId="2147374426"/>
        </pc:sldMkLst>
      </pc:sldChg>
      <pc:sldChg chg="add del">
        <pc:chgData name="Coertze, Roelof" userId="f34fe284-20c3-480c-8d68-d60183ecdf6b" providerId="ADAL" clId="{088A9083-89BD-469B-ABE6-EFCA5AB8EDB8}" dt="2024-05-23T12:06:30.590" v="5936" actId="47"/>
        <pc:sldMkLst>
          <pc:docMk/>
          <pc:sldMk cId="3332101507" sldId="2147374427"/>
        </pc:sldMkLst>
      </pc:sldChg>
      <pc:sldChg chg="addSp delSp modSp add mod">
        <pc:chgData name="Coertze, Roelof" userId="f34fe284-20c3-480c-8d68-d60183ecdf6b" providerId="ADAL" clId="{088A9083-89BD-469B-ABE6-EFCA5AB8EDB8}" dt="2024-05-28T06:24:45.810" v="7159" actId="1076"/>
        <pc:sldMkLst>
          <pc:docMk/>
          <pc:sldMk cId="3810530477" sldId="2147374428"/>
        </pc:sldMkLst>
        <pc:spChg chg="mod">
          <ac:chgData name="Coertze, Roelof" userId="f34fe284-20c3-480c-8d68-d60183ecdf6b" providerId="ADAL" clId="{088A9083-89BD-469B-ABE6-EFCA5AB8EDB8}" dt="2024-05-28T06:11:43.592" v="6890" actId="20577"/>
          <ac:spMkLst>
            <pc:docMk/>
            <pc:sldMk cId="3810530477" sldId="2147374428"/>
            <ac:spMk id="2" creationId="{73AE3C8C-D526-25FE-3700-24E49BDFCD89}"/>
          </ac:spMkLst>
        </pc:spChg>
        <pc:spChg chg="mod">
          <ac:chgData name="Coertze, Roelof" userId="f34fe284-20c3-480c-8d68-d60183ecdf6b" providerId="ADAL" clId="{088A9083-89BD-469B-ABE6-EFCA5AB8EDB8}" dt="2024-05-28T06:12:01.112" v="6896" actId="20577"/>
          <ac:spMkLst>
            <pc:docMk/>
            <pc:sldMk cId="3810530477" sldId="2147374428"/>
            <ac:spMk id="4" creationId="{E79FB8BA-50AE-1F1E-DA56-ACF82A628F02}"/>
          </ac:spMkLst>
        </pc:spChg>
        <pc:spChg chg="add del mod">
          <ac:chgData name="Coertze, Roelof" userId="f34fe284-20c3-480c-8d68-d60183ecdf6b" providerId="ADAL" clId="{088A9083-89BD-469B-ABE6-EFCA5AB8EDB8}" dt="2024-05-23T12:10:16.025" v="6287" actId="478"/>
          <ac:spMkLst>
            <pc:docMk/>
            <pc:sldMk cId="3810530477" sldId="2147374428"/>
            <ac:spMk id="9" creationId="{F6B02BFD-35C7-2947-625F-941F49AED31E}"/>
          </ac:spMkLst>
        </pc:spChg>
        <pc:spChg chg="add del mod ord">
          <ac:chgData name="Coertze, Roelof" userId="f34fe284-20c3-480c-8d68-d60183ecdf6b" providerId="ADAL" clId="{088A9083-89BD-469B-ABE6-EFCA5AB8EDB8}" dt="2024-05-28T06:11:50.861" v="6892" actId="478"/>
          <ac:spMkLst>
            <pc:docMk/>
            <pc:sldMk cId="3810530477" sldId="2147374428"/>
            <ac:spMk id="10" creationId="{AA6285C0-DCAE-9B4E-2B9F-0F919BCF485E}"/>
          </ac:spMkLst>
        </pc:spChg>
        <pc:picChg chg="add mod">
          <ac:chgData name="Coertze, Roelof" userId="f34fe284-20c3-480c-8d68-d60183ecdf6b" providerId="ADAL" clId="{088A9083-89BD-469B-ABE6-EFCA5AB8EDB8}" dt="2024-05-28T06:24:42.646" v="7157" actId="1076"/>
          <ac:picMkLst>
            <pc:docMk/>
            <pc:sldMk cId="3810530477" sldId="2147374428"/>
            <ac:picMk id="5" creationId="{E63735B1-6C09-B998-6EB2-968F24D79849}"/>
          </ac:picMkLst>
        </pc:picChg>
        <pc:picChg chg="del">
          <ac:chgData name="Coertze, Roelof" userId="f34fe284-20c3-480c-8d68-d60183ecdf6b" providerId="ADAL" clId="{088A9083-89BD-469B-ABE6-EFCA5AB8EDB8}" dt="2024-05-23T09:49:22.111" v="3569" actId="478"/>
          <ac:picMkLst>
            <pc:docMk/>
            <pc:sldMk cId="3810530477" sldId="2147374428"/>
            <ac:picMk id="6" creationId="{B7040194-CE8D-1046-BFCC-5A11394E3A5F}"/>
          </ac:picMkLst>
        </pc:picChg>
        <pc:picChg chg="add del mod modCrop">
          <ac:chgData name="Coertze, Roelof" userId="f34fe284-20c3-480c-8d68-d60183ecdf6b" providerId="ADAL" clId="{088A9083-89BD-469B-ABE6-EFCA5AB8EDB8}" dt="2024-05-28T06:11:47.073" v="6891" actId="478"/>
          <ac:picMkLst>
            <pc:docMk/>
            <pc:sldMk cId="3810530477" sldId="2147374428"/>
            <ac:picMk id="7" creationId="{E362C2E8-5293-A782-E2C6-9CDF415E6A2E}"/>
          </ac:picMkLst>
        </pc:picChg>
        <pc:picChg chg="mod">
          <ac:chgData name="Coertze, Roelof" userId="f34fe284-20c3-480c-8d68-d60183ecdf6b" providerId="ADAL" clId="{088A9083-89BD-469B-ABE6-EFCA5AB8EDB8}" dt="2024-05-28T06:24:45.810" v="7159" actId="1076"/>
          <ac:picMkLst>
            <pc:docMk/>
            <pc:sldMk cId="3810530477" sldId="2147374428"/>
            <ac:picMk id="8" creationId="{F09384B9-A87C-F41F-CB33-3FD986CF3825}"/>
          </ac:picMkLst>
        </pc:picChg>
      </pc:sldChg>
      <pc:sldChg chg="addSp modSp new mod modAnim">
        <pc:chgData name="Coertze, Roelof" userId="f34fe284-20c3-480c-8d68-d60183ecdf6b" providerId="ADAL" clId="{088A9083-89BD-469B-ABE6-EFCA5AB8EDB8}" dt="2024-05-28T06:13:07.333" v="6911" actId="14100"/>
        <pc:sldMkLst>
          <pc:docMk/>
          <pc:sldMk cId="3560669912" sldId="2147374429"/>
        </pc:sldMkLst>
        <pc:spChg chg="mod">
          <ac:chgData name="Coertze, Roelof" userId="f34fe284-20c3-480c-8d68-d60183ecdf6b" providerId="ADAL" clId="{088A9083-89BD-469B-ABE6-EFCA5AB8EDB8}" dt="2024-05-23T12:11:36.338" v="6428" actId="20577"/>
          <ac:spMkLst>
            <pc:docMk/>
            <pc:sldMk cId="3560669912" sldId="2147374429"/>
            <ac:spMk id="2" creationId="{A6D5D96D-609E-FAA0-F1C2-1E73CFCFD327}"/>
          </ac:spMkLst>
        </pc:spChg>
        <pc:spChg chg="mod">
          <ac:chgData name="Coertze, Roelof" userId="f34fe284-20c3-480c-8d68-d60183ecdf6b" providerId="ADAL" clId="{088A9083-89BD-469B-ABE6-EFCA5AB8EDB8}" dt="2024-05-23T12:23:53.401" v="6712" actId="20577"/>
          <ac:spMkLst>
            <pc:docMk/>
            <pc:sldMk cId="3560669912" sldId="2147374429"/>
            <ac:spMk id="4" creationId="{EFEF4615-8733-2714-4C61-5FA893AE9069}"/>
          </ac:spMkLst>
        </pc:spChg>
        <pc:spChg chg="add mod">
          <ac:chgData name="Coertze, Roelof" userId="f34fe284-20c3-480c-8d68-d60183ecdf6b" providerId="ADAL" clId="{088A9083-89BD-469B-ABE6-EFCA5AB8EDB8}" dt="2024-05-28T06:12:24.741" v="6901" actId="14100"/>
          <ac:spMkLst>
            <pc:docMk/>
            <pc:sldMk cId="3560669912" sldId="2147374429"/>
            <ac:spMk id="6" creationId="{5FC42BAE-1EE3-68C6-FE4D-EE0CDC69B2E8}"/>
          </ac:spMkLst>
        </pc:spChg>
        <pc:spChg chg="add mod">
          <ac:chgData name="Coertze, Roelof" userId="f34fe284-20c3-480c-8d68-d60183ecdf6b" providerId="ADAL" clId="{088A9083-89BD-469B-ABE6-EFCA5AB8EDB8}" dt="2024-05-28T06:13:07.333" v="6911" actId="14100"/>
          <ac:spMkLst>
            <pc:docMk/>
            <pc:sldMk cId="3560669912" sldId="2147374429"/>
            <ac:spMk id="7" creationId="{9AE9B491-79F9-DAC4-AE29-0D5C46C2D5A7}"/>
          </ac:spMkLst>
        </pc:spChg>
        <pc:picChg chg="add mod modCrop">
          <ac:chgData name="Coertze, Roelof" userId="f34fe284-20c3-480c-8d68-d60183ecdf6b" providerId="ADAL" clId="{088A9083-89BD-469B-ABE6-EFCA5AB8EDB8}" dt="2024-05-23T12:24:14.317" v="6756" actId="1038"/>
          <ac:picMkLst>
            <pc:docMk/>
            <pc:sldMk cId="3560669912" sldId="2147374429"/>
            <ac:picMk id="5" creationId="{3854B645-652A-C35A-01C1-97143993838D}"/>
          </ac:picMkLst>
        </pc:picChg>
      </pc:sldChg>
      <pc:sldChg chg="addSp delSp modSp new mod">
        <pc:chgData name="Coertze, Roelof" userId="f34fe284-20c3-480c-8d68-d60183ecdf6b" providerId="ADAL" clId="{088A9083-89BD-469B-ABE6-EFCA5AB8EDB8}" dt="2024-05-28T06:15:59.498" v="7060" actId="20577"/>
        <pc:sldMkLst>
          <pc:docMk/>
          <pc:sldMk cId="1928159547" sldId="2147374430"/>
        </pc:sldMkLst>
        <pc:spChg chg="mod">
          <ac:chgData name="Coertze, Roelof" userId="f34fe284-20c3-480c-8d68-d60183ecdf6b" providerId="ADAL" clId="{088A9083-89BD-469B-ABE6-EFCA5AB8EDB8}" dt="2024-05-23T11:22:56.268" v="3721" actId="20577"/>
          <ac:spMkLst>
            <pc:docMk/>
            <pc:sldMk cId="1928159547" sldId="2147374430"/>
            <ac:spMk id="2" creationId="{7D23031E-4256-26DD-E40D-2BA804472E49}"/>
          </ac:spMkLst>
        </pc:spChg>
        <pc:spChg chg="del">
          <ac:chgData name="Coertze, Roelof" userId="f34fe284-20c3-480c-8d68-d60183ecdf6b" providerId="ADAL" clId="{088A9083-89BD-469B-ABE6-EFCA5AB8EDB8}" dt="2024-05-23T11:25:10.476" v="3788" actId="478"/>
          <ac:spMkLst>
            <pc:docMk/>
            <pc:sldMk cId="1928159547" sldId="2147374430"/>
            <ac:spMk id="4" creationId="{A8C98A01-247A-AC59-FCCE-96FFD5934FEC}"/>
          </ac:spMkLst>
        </pc:spChg>
        <pc:spChg chg="del">
          <ac:chgData name="Coertze, Roelof" userId="f34fe284-20c3-480c-8d68-d60183ecdf6b" providerId="ADAL" clId="{088A9083-89BD-469B-ABE6-EFCA5AB8EDB8}" dt="2024-05-23T11:25:12.441" v="3789" actId="478"/>
          <ac:spMkLst>
            <pc:docMk/>
            <pc:sldMk cId="1928159547" sldId="2147374430"/>
            <ac:spMk id="5" creationId="{2155D3F8-6035-CA38-13B7-1C52736BE097}"/>
          </ac:spMkLst>
        </pc:spChg>
        <pc:graphicFrameChg chg="add mod">
          <ac:chgData name="Coertze, Roelof" userId="f34fe284-20c3-480c-8d68-d60183ecdf6b" providerId="ADAL" clId="{088A9083-89BD-469B-ABE6-EFCA5AB8EDB8}" dt="2024-05-28T06:15:59.498" v="7060" actId="20577"/>
          <ac:graphicFrameMkLst>
            <pc:docMk/>
            <pc:sldMk cId="1928159547" sldId="2147374430"/>
            <ac:graphicFrameMk id="6" creationId="{5C1C7924-5AC1-C725-9538-EB016B527EF0}"/>
          </ac:graphicFrameMkLst>
        </pc:graphicFrameChg>
        <pc:graphicFrameChg chg="add mod">
          <ac:chgData name="Coertze, Roelof" userId="f34fe284-20c3-480c-8d68-d60183ecdf6b" providerId="ADAL" clId="{088A9083-89BD-469B-ABE6-EFCA5AB8EDB8}" dt="2024-05-23T11:25:42.134" v="3791" actId="1076"/>
          <ac:graphicFrameMkLst>
            <pc:docMk/>
            <pc:sldMk cId="1928159547" sldId="2147374430"/>
            <ac:graphicFrameMk id="7" creationId="{ED571AF5-25B2-7D4D-D91E-5077CC965088}"/>
          </ac:graphicFrameMkLst>
        </pc:graphicFrameChg>
      </pc:sldChg>
      <pc:sldChg chg="addSp delSp modSp new mod">
        <pc:chgData name="Coertze, Roelof" userId="f34fe284-20c3-480c-8d68-d60183ecdf6b" providerId="ADAL" clId="{088A9083-89BD-469B-ABE6-EFCA5AB8EDB8}" dt="2024-05-28T06:13:35.626" v="6918" actId="6549"/>
        <pc:sldMkLst>
          <pc:docMk/>
          <pc:sldMk cId="369465890" sldId="2147374431"/>
        </pc:sldMkLst>
        <pc:spChg chg="mod">
          <ac:chgData name="Coertze, Roelof" userId="f34fe284-20c3-480c-8d68-d60183ecdf6b" providerId="ADAL" clId="{088A9083-89BD-469B-ABE6-EFCA5AB8EDB8}" dt="2024-05-23T12:14:12.260" v="6519" actId="20577"/>
          <ac:spMkLst>
            <pc:docMk/>
            <pc:sldMk cId="369465890" sldId="2147374431"/>
            <ac:spMk id="2" creationId="{0CA28A62-4EDC-A0B7-2184-2904FDE00B0C}"/>
          </ac:spMkLst>
        </pc:spChg>
        <pc:spChg chg="add del mod">
          <ac:chgData name="Coertze, Roelof" userId="f34fe284-20c3-480c-8d68-d60183ecdf6b" providerId="ADAL" clId="{088A9083-89BD-469B-ABE6-EFCA5AB8EDB8}" dt="2024-05-23T12:14:18.254" v="6520" actId="21"/>
          <ac:spMkLst>
            <pc:docMk/>
            <pc:sldMk cId="369465890" sldId="2147374431"/>
            <ac:spMk id="4" creationId="{114D1AA9-F2C6-80ED-393F-0701BBA16417}"/>
          </ac:spMkLst>
        </pc:spChg>
        <pc:spChg chg="add del mod">
          <ac:chgData name="Coertze, Roelof" userId="f34fe284-20c3-480c-8d68-d60183ecdf6b" providerId="ADAL" clId="{088A9083-89BD-469B-ABE6-EFCA5AB8EDB8}" dt="2024-05-23T12:13:28.247" v="6498" actId="478"/>
          <ac:spMkLst>
            <pc:docMk/>
            <pc:sldMk cId="369465890" sldId="2147374431"/>
            <ac:spMk id="5" creationId="{544C3A2D-D27A-71DE-F8B1-EADB6B9D0D73}"/>
          </ac:spMkLst>
        </pc:spChg>
        <pc:spChg chg="add del mod">
          <ac:chgData name="Coertze, Roelof" userId="f34fe284-20c3-480c-8d68-d60183ecdf6b" providerId="ADAL" clId="{088A9083-89BD-469B-ABE6-EFCA5AB8EDB8}" dt="2024-05-23T12:14:34.578" v="6522" actId="478"/>
          <ac:spMkLst>
            <pc:docMk/>
            <pc:sldMk cId="369465890" sldId="2147374431"/>
            <ac:spMk id="6" creationId="{712FAF41-733D-F84F-5904-885798D1093F}"/>
          </ac:spMkLst>
        </pc:spChg>
        <pc:spChg chg="add del mod">
          <ac:chgData name="Coertze, Roelof" userId="f34fe284-20c3-480c-8d68-d60183ecdf6b" providerId="ADAL" clId="{088A9083-89BD-469B-ABE6-EFCA5AB8EDB8}" dt="2024-05-23T10:57:53.584" v="3599" actId="478"/>
          <ac:spMkLst>
            <pc:docMk/>
            <pc:sldMk cId="369465890" sldId="2147374431"/>
            <ac:spMk id="7" creationId="{49FF09AC-D6F9-1CDA-CB34-CDD5E7E71254}"/>
          </ac:spMkLst>
        </pc:spChg>
        <pc:spChg chg="add del mod">
          <ac:chgData name="Coertze, Roelof" userId="f34fe284-20c3-480c-8d68-d60183ecdf6b" providerId="ADAL" clId="{088A9083-89BD-469B-ABE6-EFCA5AB8EDB8}" dt="2024-05-23T12:14:03.867" v="6512" actId="21"/>
          <ac:spMkLst>
            <pc:docMk/>
            <pc:sldMk cId="369465890" sldId="2147374431"/>
            <ac:spMk id="9" creationId="{25939613-D953-50BC-EB2F-CEDFBB279033}"/>
          </ac:spMkLst>
        </pc:spChg>
        <pc:spChg chg="add mod ord">
          <ac:chgData name="Coertze, Roelof" userId="f34fe284-20c3-480c-8d68-d60183ecdf6b" providerId="ADAL" clId="{088A9083-89BD-469B-ABE6-EFCA5AB8EDB8}" dt="2024-05-28T06:13:35.626" v="6918" actId="6549"/>
          <ac:spMkLst>
            <pc:docMk/>
            <pc:sldMk cId="369465890" sldId="2147374431"/>
            <ac:spMk id="11" creationId="{9EFDEC8E-3554-7FE3-9A14-6D53B25BE018}"/>
          </ac:spMkLst>
        </pc:spChg>
      </pc:sldChg>
      <pc:sldChg chg="modSp add del mod">
        <pc:chgData name="Coertze, Roelof" userId="f34fe284-20c3-480c-8d68-d60183ecdf6b" providerId="ADAL" clId="{088A9083-89BD-469B-ABE6-EFCA5AB8EDB8}" dt="2024-05-23T11:00:40.931" v="3657" actId="47"/>
        <pc:sldMkLst>
          <pc:docMk/>
          <pc:sldMk cId="77688572" sldId="2147374680"/>
        </pc:sldMkLst>
        <pc:spChg chg="mod">
          <ac:chgData name="Coertze, Roelof" userId="f34fe284-20c3-480c-8d68-d60183ecdf6b" providerId="ADAL" clId="{088A9083-89BD-469B-ABE6-EFCA5AB8EDB8}" dt="2024-05-23T10:58:39.059" v="3601" actId="20577"/>
          <ac:spMkLst>
            <pc:docMk/>
            <pc:sldMk cId="77688572" sldId="2147374680"/>
            <ac:spMk id="4" creationId="{0573AFB6-0FFD-7561-3115-BBBAA1E17DBD}"/>
          </ac:spMkLst>
        </pc:spChg>
      </pc:sldChg>
      <pc:sldChg chg="addSp delSp modSp new mod">
        <pc:chgData name="Coertze, Roelof" userId="f34fe284-20c3-480c-8d68-d60183ecdf6b" providerId="ADAL" clId="{088A9083-89BD-469B-ABE6-EFCA5AB8EDB8}" dt="2024-05-28T06:15:37.284" v="7058" actId="1076"/>
        <pc:sldMkLst>
          <pc:docMk/>
          <pc:sldMk cId="1831112552" sldId="2147374681"/>
        </pc:sldMkLst>
        <pc:spChg chg="mod">
          <ac:chgData name="Coertze, Roelof" userId="f34fe284-20c3-480c-8d68-d60183ecdf6b" providerId="ADAL" clId="{088A9083-89BD-469B-ABE6-EFCA5AB8EDB8}" dt="2024-05-23T12:15:47.566" v="6540" actId="20577"/>
          <ac:spMkLst>
            <pc:docMk/>
            <pc:sldMk cId="1831112552" sldId="2147374681"/>
            <ac:spMk id="2" creationId="{75676E7A-3A4C-B08E-4B1B-60AE25C9CFC7}"/>
          </ac:spMkLst>
        </pc:spChg>
        <pc:spChg chg="del">
          <ac:chgData name="Coertze, Roelof" userId="f34fe284-20c3-480c-8d68-d60183ecdf6b" providerId="ADAL" clId="{088A9083-89BD-469B-ABE6-EFCA5AB8EDB8}" dt="2024-05-23T12:24:59.880" v="6772" actId="478"/>
          <ac:spMkLst>
            <pc:docMk/>
            <pc:sldMk cId="1831112552" sldId="2147374681"/>
            <ac:spMk id="4" creationId="{AC1F8D24-D927-0FA1-BD3B-997A8F7FF501}"/>
          </ac:spMkLst>
        </pc:spChg>
        <pc:spChg chg="add mod">
          <ac:chgData name="Coertze, Roelof" userId="f34fe284-20c3-480c-8d68-d60183ecdf6b" providerId="ADAL" clId="{088A9083-89BD-469B-ABE6-EFCA5AB8EDB8}" dt="2024-05-28T06:15:07.533" v="7055" actId="14100"/>
          <ac:spMkLst>
            <pc:docMk/>
            <pc:sldMk cId="1831112552" sldId="2147374681"/>
            <ac:spMk id="5" creationId="{F5D5107B-5638-57E7-BF40-E1F7529685D8}"/>
          </ac:spMkLst>
        </pc:spChg>
        <pc:spChg chg="add del">
          <ac:chgData name="Coertze, Roelof" userId="f34fe284-20c3-480c-8d68-d60183ecdf6b" providerId="ADAL" clId="{088A9083-89BD-469B-ABE6-EFCA5AB8EDB8}" dt="2024-05-23T11:01:27.837" v="3659" actId="22"/>
          <ac:spMkLst>
            <pc:docMk/>
            <pc:sldMk cId="1831112552" sldId="2147374681"/>
            <ac:spMk id="7" creationId="{142C0965-F9EB-ADD8-8714-7F1EDFB5A8D8}"/>
          </ac:spMkLst>
        </pc:spChg>
        <pc:spChg chg="add del mod">
          <ac:chgData name="Coertze, Roelof" userId="f34fe284-20c3-480c-8d68-d60183ecdf6b" providerId="ADAL" clId="{088A9083-89BD-469B-ABE6-EFCA5AB8EDB8}" dt="2024-05-23T11:22:24.314" v="3668" actId="478"/>
          <ac:spMkLst>
            <pc:docMk/>
            <pc:sldMk cId="1831112552" sldId="2147374681"/>
            <ac:spMk id="9" creationId="{ADEB9352-BBA2-C8CB-6CB2-C67E8DD2251F}"/>
          </ac:spMkLst>
        </pc:spChg>
        <pc:picChg chg="add mod">
          <ac:chgData name="Coertze, Roelof" userId="f34fe284-20c3-480c-8d68-d60183ecdf6b" providerId="ADAL" clId="{088A9083-89BD-469B-ABE6-EFCA5AB8EDB8}" dt="2024-05-28T06:15:10.705" v="7056" actId="1076"/>
          <ac:picMkLst>
            <pc:docMk/>
            <pc:sldMk cId="1831112552" sldId="2147374681"/>
            <ac:picMk id="4" creationId="{25359F1A-321D-A40A-FCDB-3896B789951D}"/>
          </ac:picMkLst>
        </pc:picChg>
        <pc:picChg chg="add mod">
          <ac:chgData name="Coertze, Roelof" userId="f34fe284-20c3-480c-8d68-d60183ecdf6b" providerId="ADAL" clId="{088A9083-89BD-469B-ABE6-EFCA5AB8EDB8}" dt="2024-05-28T06:15:37.284" v="7058" actId="1076"/>
          <ac:picMkLst>
            <pc:docMk/>
            <pc:sldMk cId="1831112552" sldId="2147374681"/>
            <ac:picMk id="11" creationId="{6AA68653-34F3-5107-E77B-4C70ABC36C7A}"/>
          </ac:picMkLst>
        </pc:picChg>
      </pc:sldChg>
      <pc:sldChg chg="addSp delSp modSp new mod">
        <pc:chgData name="Coertze, Roelof" userId="f34fe284-20c3-480c-8d68-d60183ecdf6b" providerId="ADAL" clId="{088A9083-89BD-469B-ABE6-EFCA5AB8EDB8}" dt="2024-05-28T06:16:34.803" v="7096" actId="20577"/>
        <pc:sldMkLst>
          <pc:docMk/>
          <pc:sldMk cId="1823655809" sldId="2147374682"/>
        </pc:sldMkLst>
        <pc:spChg chg="mod">
          <ac:chgData name="Coertze, Roelof" userId="f34fe284-20c3-480c-8d68-d60183ecdf6b" providerId="ADAL" clId="{088A9083-89BD-469B-ABE6-EFCA5AB8EDB8}" dt="2024-05-28T06:16:34.803" v="7096" actId="20577"/>
          <ac:spMkLst>
            <pc:docMk/>
            <pc:sldMk cId="1823655809" sldId="2147374682"/>
            <ac:spMk id="2" creationId="{177F7B1A-E4F3-4A13-47E5-6712C8A9D47E}"/>
          </ac:spMkLst>
        </pc:spChg>
        <pc:spChg chg="del">
          <ac:chgData name="Coertze, Roelof" userId="f34fe284-20c3-480c-8d68-d60183ecdf6b" providerId="ADAL" clId="{088A9083-89BD-469B-ABE6-EFCA5AB8EDB8}" dt="2024-05-28T06:01:27.520" v="6835" actId="478"/>
          <ac:spMkLst>
            <pc:docMk/>
            <pc:sldMk cId="1823655809" sldId="2147374682"/>
            <ac:spMk id="4" creationId="{65BDE9F2-AF0F-BB7F-11E0-B933C71B900F}"/>
          </ac:spMkLst>
        </pc:spChg>
        <pc:spChg chg="del">
          <ac:chgData name="Coertze, Roelof" userId="f34fe284-20c3-480c-8d68-d60183ecdf6b" providerId="ADAL" clId="{088A9083-89BD-469B-ABE6-EFCA5AB8EDB8}" dt="2024-05-28T06:01:30.963" v="6836" actId="478"/>
          <ac:spMkLst>
            <pc:docMk/>
            <pc:sldMk cId="1823655809" sldId="2147374682"/>
            <ac:spMk id="5" creationId="{0AF6934D-536C-2067-5339-35A69539F87B}"/>
          </ac:spMkLst>
        </pc:spChg>
        <pc:picChg chg="add mod">
          <ac:chgData name="Coertze, Roelof" userId="f34fe284-20c3-480c-8d68-d60183ecdf6b" providerId="ADAL" clId="{088A9083-89BD-469B-ABE6-EFCA5AB8EDB8}" dt="2024-05-28T05:58:31.476" v="6834" actId="1076"/>
          <ac:picMkLst>
            <pc:docMk/>
            <pc:sldMk cId="1823655809" sldId="2147374682"/>
            <ac:picMk id="7" creationId="{4E9FD05C-AD6A-CEF3-B401-D52C32FBCA22}"/>
          </ac:picMkLst>
        </pc:picChg>
      </pc:sldChg>
      <pc:sldChg chg="delSp modSp add mod">
        <pc:chgData name="Coertze, Roelof" userId="f34fe284-20c3-480c-8d68-d60183ecdf6b" providerId="ADAL" clId="{088A9083-89BD-469B-ABE6-EFCA5AB8EDB8}" dt="2024-05-28T06:12:10.570" v="6900" actId="1076"/>
        <pc:sldMkLst>
          <pc:docMk/>
          <pc:sldMk cId="349284959" sldId="2147374683"/>
        </pc:sldMkLst>
        <pc:spChg chg="mod">
          <ac:chgData name="Coertze, Roelof" userId="f34fe284-20c3-480c-8d68-d60183ecdf6b" providerId="ADAL" clId="{088A9083-89BD-469B-ABE6-EFCA5AB8EDB8}" dt="2024-05-28T06:12:05.274" v="6897" actId="20577"/>
          <ac:spMkLst>
            <pc:docMk/>
            <pc:sldMk cId="349284959" sldId="2147374683"/>
            <ac:spMk id="4" creationId="{E79FB8BA-50AE-1F1E-DA56-ACF82A628F02}"/>
          </ac:spMkLst>
        </pc:spChg>
        <pc:spChg chg="del">
          <ac:chgData name="Coertze, Roelof" userId="f34fe284-20c3-480c-8d68-d60183ecdf6b" providerId="ADAL" clId="{088A9083-89BD-469B-ABE6-EFCA5AB8EDB8}" dt="2024-05-28T06:12:07.533" v="6899" actId="478"/>
          <ac:spMkLst>
            <pc:docMk/>
            <pc:sldMk cId="349284959" sldId="2147374683"/>
            <ac:spMk id="10" creationId="{AA6285C0-DCAE-9B4E-2B9F-0F919BCF485E}"/>
          </ac:spMkLst>
        </pc:spChg>
        <pc:picChg chg="mod">
          <ac:chgData name="Coertze, Roelof" userId="f34fe284-20c3-480c-8d68-d60183ecdf6b" providerId="ADAL" clId="{088A9083-89BD-469B-ABE6-EFCA5AB8EDB8}" dt="2024-05-28T06:12:10.570" v="6900" actId="1076"/>
          <ac:picMkLst>
            <pc:docMk/>
            <pc:sldMk cId="349284959" sldId="2147374683"/>
            <ac:picMk id="7" creationId="{E362C2E8-5293-A782-E2C6-9CDF415E6A2E}"/>
          </ac:picMkLst>
        </pc:picChg>
        <pc:picChg chg="del">
          <ac:chgData name="Coertze, Roelof" userId="f34fe284-20c3-480c-8d68-d60183ecdf6b" providerId="ADAL" clId="{088A9083-89BD-469B-ABE6-EFCA5AB8EDB8}" dt="2024-05-28T06:12:06.840" v="6898" actId="478"/>
          <ac:picMkLst>
            <pc:docMk/>
            <pc:sldMk cId="349284959" sldId="2147374683"/>
            <ac:picMk id="8" creationId="{F09384B9-A87C-F41F-CB33-3FD986CF3825}"/>
          </ac:picMkLst>
        </pc:picChg>
      </pc:sldChg>
      <pc:sldChg chg="modSp add mod">
        <pc:chgData name="Coertze, Roelof" userId="f34fe284-20c3-480c-8d68-d60183ecdf6b" providerId="ADAL" clId="{088A9083-89BD-469B-ABE6-EFCA5AB8EDB8}" dt="2024-05-28T06:26:53.672" v="7361" actId="20577"/>
        <pc:sldMkLst>
          <pc:docMk/>
          <pc:sldMk cId="2847303861" sldId="2147374684"/>
        </pc:sldMkLst>
        <pc:spChg chg="mod">
          <ac:chgData name="Coertze, Roelof" userId="f34fe284-20c3-480c-8d68-d60183ecdf6b" providerId="ADAL" clId="{088A9083-89BD-469B-ABE6-EFCA5AB8EDB8}" dt="2024-05-28T06:13:54.931" v="6931" actId="20577"/>
          <ac:spMkLst>
            <pc:docMk/>
            <pc:sldMk cId="2847303861" sldId="2147374684"/>
            <ac:spMk id="2" creationId="{0CA28A62-4EDC-A0B7-2184-2904FDE00B0C}"/>
          </ac:spMkLst>
        </pc:spChg>
        <pc:spChg chg="mod">
          <ac:chgData name="Coertze, Roelof" userId="f34fe284-20c3-480c-8d68-d60183ecdf6b" providerId="ADAL" clId="{088A9083-89BD-469B-ABE6-EFCA5AB8EDB8}" dt="2024-05-28T06:26:53.672" v="7361" actId="20577"/>
          <ac:spMkLst>
            <pc:docMk/>
            <pc:sldMk cId="2847303861" sldId="2147374684"/>
            <ac:spMk id="11" creationId="{9EFDEC8E-3554-7FE3-9A14-6D53B25BE018}"/>
          </ac:spMkLst>
        </pc:spChg>
      </pc:sldChg>
      <pc:sldMasterChg chg="delSldLayout modSldLayout">
        <pc:chgData name="Coertze, Roelof" userId="f34fe284-20c3-480c-8d68-d60183ecdf6b" providerId="ADAL" clId="{088A9083-89BD-469B-ABE6-EFCA5AB8EDB8}" dt="2024-05-23T11:00:40.931" v="3657" actId="47"/>
        <pc:sldMasterMkLst>
          <pc:docMk/>
          <pc:sldMasterMk cId="74579786" sldId="2147483676"/>
        </pc:sldMasterMkLst>
        <pc:sldLayoutChg chg="delSp mod">
          <pc:chgData name="Coertze, Roelof" userId="f34fe284-20c3-480c-8d68-d60183ecdf6b" providerId="ADAL" clId="{088A9083-89BD-469B-ABE6-EFCA5AB8EDB8}" dt="2024-05-23T07:12:50.271" v="1417" actId="478"/>
          <pc:sldLayoutMkLst>
            <pc:docMk/>
            <pc:sldMasterMk cId="74579786" sldId="2147483676"/>
            <pc:sldLayoutMk cId="3057385107" sldId="2147483672"/>
          </pc:sldLayoutMkLst>
          <pc:spChg chg="del">
            <ac:chgData name="Coertze, Roelof" userId="f34fe284-20c3-480c-8d68-d60183ecdf6b" providerId="ADAL" clId="{088A9083-89BD-469B-ABE6-EFCA5AB8EDB8}" dt="2024-05-23T07:12:50.271" v="1417" actId="478"/>
            <ac:spMkLst>
              <pc:docMk/>
              <pc:sldMasterMk cId="74579786" sldId="2147483676"/>
              <pc:sldLayoutMk cId="3057385107" sldId="2147483672"/>
              <ac:spMk id="8" creationId="{AD06EF2F-09F2-7346-8091-EF6BCFE89074}"/>
            </ac:spMkLst>
          </pc:spChg>
        </pc:sldLayoutChg>
        <pc:sldLayoutChg chg="delSp mod">
          <pc:chgData name="Coertze, Roelof" userId="f34fe284-20c3-480c-8d68-d60183ecdf6b" providerId="ADAL" clId="{088A9083-89BD-469B-ABE6-EFCA5AB8EDB8}" dt="2024-05-23T07:12:36.166" v="1414" actId="478"/>
          <pc:sldLayoutMkLst>
            <pc:docMk/>
            <pc:sldMasterMk cId="74579786" sldId="2147483676"/>
            <pc:sldLayoutMk cId="0" sldId="2147483679"/>
          </pc:sldLayoutMkLst>
          <pc:spChg chg="del">
            <ac:chgData name="Coertze, Roelof" userId="f34fe284-20c3-480c-8d68-d60183ecdf6b" providerId="ADAL" clId="{088A9083-89BD-469B-ABE6-EFCA5AB8EDB8}" dt="2024-05-23T07:12:36.166" v="1414" actId="478"/>
            <ac:spMkLst>
              <pc:docMk/>
              <pc:sldMasterMk cId="74579786" sldId="2147483676"/>
              <pc:sldLayoutMk cId="0" sldId="2147483679"/>
              <ac:spMk id="7" creationId="{00000000-0000-0000-0000-000000000000}"/>
            </ac:spMkLst>
          </pc:spChg>
          <pc:spChg chg="del">
            <ac:chgData name="Coertze, Roelof" userId="f34fe284-20c3-480c-8d68-d60183ecdf6b" providerId="ADAL" clId="{088A9083-89BD-469B-ABE6-EFCA5AB8EDB8}" dt="2024-05-23T07:12:34.001" v="1413" actId="478"/>
            <ac:spMkLst>
              <pc:docMk/>
              <pc:sldMasterMk cId="74579786" sldId="2147483676"/>
              <pc:sldLayoutMk cId="0" sldId="2147483679"/>
              <ac:spMk id="12" creationId="{00000000-0000-0000-0000-000000000000}"/>
            </ac:spMkLst>
          </pc:spChg>
        </pc:sldLayoutChg>
        <pc:sldLayoutChg chg="delSp mod">
          <pc:chgData name="Coertze, Roelof" userId="f34fe284-20c3-480c-8d68-d60183ecdf6b" providerId="ADAL" clId="{088A9083-89BD-469B-ABE6-EFCA5AB8EDB8}" dt="2024-05-23T07:13:01.985" v="1423" actId="478"/>
          <pc:sldLayoutMkLst>
            <pc:docMk/>
            <pc:sldMasterMk cId="74579786" sldId="2147483676"/>
            <pc:sldLayoutMk cId="0" sldId="2147483681"/>
          </pc:sldLayoutMkLst>
          <pc:spChg chg="del">
            <ac:chgData name="Coertze, Roelof" userId="f34fe284-20c3-480c-8d68-d60183ecdf6b" providerId="ADAL" clId="{088A9083-89BD-469B-ABE6-EFCA5AB8EDB8}" dt="2024-05-23T07:13:01.985" v="1423" actId="478"/>
            <ac:spMkLst>
              <pc:docMk/>
              <pc:sldMasterMk cId="74579786" sldId="2147483676"/>
              <pc:sldLayoutMk cId="0" sldId="2147483681"/>
              <ac:spMk id="9" creationId="{D579A68D-AE76-5F48-856E-5AD1201DC09A}"/>
            </ac:spMkLst>
          </pc:spChg>
          <pc:spChg chg="del">
            <ac:chgData name="Coertze, Roelof" userId="f34fe284-20c3-480c-8d68-d60183ecdf6b" providerId="ADAL" clId="{088A9083-89BD-469B-ABE6-EFCA5AB8EDB8}" dt="2024-05-23T07:13:01.199" v="1422" actId="478"/>
            <ac:spMkLst>
              <pc:docMk/>
              <pc:sldMasterMk cId="74579786" sldId="2147483676"/>
              <pc:sldLayoutMk cId="0" sldId="2147483681"/>
              <ac:spMk id="13" creationId="{D579A68D-AE76-5F48-856E-5AD1201DC09A}"/>
            </ac:spMkLst>
          </pc:spChg>
        </pc:sldLayoutChg>
        <pc:sldLayoutChg chg="delSp mod">
          <pc:chgData name="Coertze, Roelof" userId="f34fe284-20c3-480c-8d68-d60183ecdf6b" providerId="ADAL" clId="{088A9083-89BD-469B-ABE6-EFCA5AB8EDB8}" dt="2024-05-23T07:13:04.310" v="1425" actId="478"/>
          <pc:sldLayoutMkLst>
            <pc:docMk/>
            <pc:sldMasterMk cId="74579786" sldId="2147483676"/>
            <pc:sldLayoutMk cId="0" sldId="2147483683"/>
          </pc:sldLayoutMkLst>
          <pc:spChg chg="del">
            <ac:chgData name="Coertze, Roelof" userId="f34fe284-20c3-480c-8d68-d60183ecdf6b" providerId="ADAL" clId="{088A9083-89BD-469B-ABE6-EFCA5AB8EDB8}" dt="2024-05-23T07:13:04.310" v="1425" actId="478"/>
            <ac:spMkLst>
              <pc:docMk/>
              <pc:sldMasterMk cId="74579786" sldId="2147483676"/>
              <pc:sldLayoutMk cId="0" sldId="2147483683"/>
              <ac:spMk id="10" creationId="{F9FB5E5B-2511-0C47-ADEE-0DD02DA4EA32}"/>
            </ac:spMkLst>
          </pc:spChg>
          <pc:spChg chg="del">
            <ac:chgData name="Coertze, Roelof" userId="f34fe284-20c3-480c-8d68-d60183ecdf6b" providerId="ADAL" clId="{088A9083-89BD-469B-ABE6-EFCA5AB8EDB8}" dt="2024-05-23T07:13:03.524" v="1424" actId="478"/>
            <ac:spMkLst>
              <pc:docMk/>
              <pc:sldMasterMk cId="74579786" sldId="2147483676"/>
              <pc:sldLayoutMk cId="0" sldId="2147483683"/>
              <ac:spMk id="15" creationId="{F9FB5E5B-2511-0C47-ADEE-0DD02DA4EA32}"/>
            </ac:spMkLst>
          </pc:spChg>
        </pc:sldLayoutChg>
        <pc:sldLayoutChg chg="delSp mod">
          <pc:chgData name="Coertze, Roelof" userId="f34fe284-20c3-480c-8d68-d60183ecdf6b" providerId="ADAL" clId="{088A9083-89BD-469B-ABE6-EFCA5AB8EDB8}" dt="2024-05-23T07:13:07.185" v="1427" actId="478"/>
          <pc:sldLayoutMkLst>
            <pc:docMk/>
            <pc:sldMasterMk cId="74579786" sldId="2147483676"/>
            <pc:sldLayoutMk cId="0" sldId="2147483684"/>
          </pc:sldLayoutMkLst>
          <pc:spChg chg="del">
            <ac:chgData name="Coertze, Roelof" userId="f34fe284-20c3-480c-8d68-d60183ecdf6b" providerId="ADAL" clId="{088A9083-89BD-469B-ABE6-EFCA5AB8EDB8}" dt="2024-05-23T07:13:07.185" v="1427" actId="478"/>
            <ac:spMkLst>
              <pc:docMk/>
              <pc:sldMasterMk cId="74579786" sldId="2147483676"/>
              <pc:sldLayoutMk cId="0" sldId="2147483684"/>
              <ac:spMk id="11" creationId="{36C6339C-A307-C240-A352-8D2FB22A315B}"/>
            </ac:spMkLst>
          </pc:spChg>
          <pc:spChg chg="del">
            <ac:chgData name="Coertze, Roelof" userId="f34fe284-20c3-480c-8d68-d60183ecdf6b" providerId="ADAL" clId="{088A9083-89BD-469B-ABE6-EFCA5AB8EDB8}" dt="2024-05-23T07:13:06.327" v="1426" actId="478"/>
            <ac:spMkLst>
              <pc:docMk/>
              <pc:sldMasterMk cId="74579786" sldId="2147483676"/>
              <pc:sldLayoutMk cId="0" sldId="2147483684"/>
              <ac:spMk id="16" creationId="{36C6339C-A307-C240-A352-8D2FB22A315B}"/>
            </ac:spMkLst>
          </pc:spChg>
        </pc:sldLayoutChg>
        <pc:sldLayoutChg chg="delSp mod">
          <pc:chgData name="Coertze, Roelof" userId="f34fe284-20c3-480c-8d68-d60183ecdf6b" providerId="ADAL" clId="{088A9083-89BD-469B-ABE6-EFCA5AB8EDB8}" dt="2024-05-23T07:12:56.941" v="1421" actId="478"/>
          <pc:sldLayoutMkLst>
            <pc:docMk/>
            <pc:sldMasterMk cId="74579786" sldId="2147483676"/>
            <pc:sldLayoutMk cId="0" sldId="2147483687"/>
          </pc:sldLayoutMkLst>
          <pc:spChg chg="del">
            <ac:chgData name="Coertze, Roelof" userId="f34fe284-20c3-480c-8d68-d60183ecdf6b" providerId="ADAL" clId="{088A9083-89BD-469B-ABE6-EFCA5AB8EDB8}" dt="2024-05-23T07:12:56.941" v="1421" actId="478"/>
            <ac:spMkLst>
              <pc:docMk/>
              <pc:sldMasterMk cId="74579786" sldId="2147483676"/>
              <pc:sldLayoutMk cId="0" sldId="2147483687"/>
              <ac:spMk id="9" creationId="{8CF4C638-3DC8-5D43-944E-016C4BA817EF}"/>
            </ac:spMkLst>
          </pc:spChg>
          <pc:spChg chg="del">
            <ac:chgData name="Coertze, Roelof" userId="f34fe284-20c3-480c-8d68-d60183ecdf6b" providerId="ADAL" clId="{088A9083-89BD-469B-ABE6-EFCA5AB8EDB8}" dt="2024-05-23T07:12:51.699" v="1418" actId="478"/>
            <ac:spMkLst>
              <pc:docMk/>
              <pc:sldMasterMk cId="74579786" sldId="2147483676"/>
              <pc:sldLayoutMk cId="0" sldId="2147483687"/>
              <ac:spMk id="14" creationId="{8CF4C638-3DC8-5D43-944E-016C4BA817EF}"/>
            </ac:spMkLst>
          </pc:spChg>
        </pc:sldLayoutChg>
        <pc:sldLayoutChg chg="delSp mod">
          <pc:chgData name="Coertze, Roelof" userId="f34fe284-20c3-480c-8d68-d60183ecdf6b" providerId="ADAL" clId="{088A9083-89BD-469B-ABE6-EFCA5AB8EDB8}" dt="2024-05-23T07:12:48.872" v="1416" actId="478"/>
          <pc:sldLayoutMkLst>
            <pc:docMk/>
            <pc:sldMasterMk cId="74579786" sldId="2147483676"/>
            <pc:sldLayoutMk cId="0" sldId="2147483688"/>
          </pc:sldLayoutMkLst>
          <pc:spChg chg="del">
            <ac:chgData name="Coertze, Roelof" userId="f34fe284-20c3-480c-8d68-d60183ecdf6b" providerId="ADAL" clId="{088A9083-89BD-469B-ABE6-EFCA5AB8EDB8}" dt="2024-05-23T07:12:48.872" v="1416" actId="478"/>
            <ac:spMkLst>
              <pc:docMk/>
              <pc:sldMasterMk cId="74579786" sldId="2147483676"/>
              <pc:sldLayoutMk cId="0" sldId="2147483688"/>
              <ac:spMk id="10" creationId="{32B379F4-E7A1-DF46-A00A-70115D64C283}"/>
            </ac:spMkLst>
          </pc:spChg>
          <pc:spChg chg="del">
            <ac:chgData name="Coertze, Roelof" userId="f34fe284-20c3-480c-8d68-d60183ecdf6b" providerId="ADAL" clId="{088A9083-89BD-469B-ABE6-EFCA5AB8EDB8}" dt="2024-05-23T07:12:47.611" v="1415" actId="478"/>
            <ac:spMkLst>
              <pc:docMk/>
              <pc:sldMasterMk cId="74579786" sldId="2147483676"/>
              <pc:sldLayoutMk cId="0" sldId="2147483688"/>
              <ac:spMk id="16" creationId="{32B379F4-E7A1-DF46-A00A-70115D64C283}"/>
            </ac:spMkLst>
          </pc:spChg>
        </pc:sldLayoutChg>
        <pc:sldLayoutChg chg="delSp mod">
          <pc:chgData name="Coertze, Roelof" userId="f34fe284-20c3-480c-8d68-d60183ecdf6b" providerId="ADAL" clId="{088A9083-89BD-469B-ABE6-EFCA5AB8EDB8}" dt="2024-05-23T07:13:10.420" v="1429" actId="478"/>
          <pc:sldLayoutMkLst>
            <pc:docMk/>
            <pc:sldMasterMk cId="74579786" sldId="2147483676"/>
            <pc:sldLayoutMk cId="0" sldId="2147483689"/>
          </pc:sldLayoutMkLst>
          <pc:spChg chg="del">
            <ac:chgData name="Coertze, Roelof" userId="f34fe284-20c3-480c-8d68-d60183ecdf6b" providerId="ADAL" clId="{088A9083-89BD-469B-ABE6-EFCA5AB8EDB8}" dt="2024-05-23T07:13:10.420" v="1429" actId="478"/>
            <ac:spMkLst>
              <pc:docMk/>
              <pc:sldMasterMk cId="74579786" sldId="2147483676"/>
              <pc:sldLayoutMk cId="0" sldId="2147483689"/>
              <ac:spMk id="13" creationId="{62437B32-2594-0D46-8C17-03FA0AE37E95}"/>
            </ac:spMkLst>
          </pc:spChg>
          <pc:spChg chg="del">
            <ac:chgData name="Coertze, Roelof" userId="f34fe284-20c3-480c-8d68-d60183ecdf6b" providerId="ADAL" clId="{088A9083-89BD-469B-ABE6-EFCA5AB8EDB8}" dt="2024-05-23T07:13:09.713" v="1428" actId="478"/>
            <ac:spMkLst>
              <pc:docMk/>
              <pc:sldMasterMk cId="74579786" sldId="2147483676"/>
              <pc:sldLayoutMk cId="0" sldId="2147483689"/>
              <ac:spMk id="17" creationId="{62437B32-2594-0D46-8C17-03FA0AE37E95}"/>
            </ac:spMkLst>
          </pc:spChg>
        </pc:sldLayoutChg>
        <pc:sldLayoutChg chg="delSp mod">
          <pc:chgData name="Coertze, Roelof" userId="f34fe284-20c3-480c-8d68-d60183ecdf6b" providerId="ADAL" clId="{088A9083-89BD-469B-ABE6-EFCA5AB8EDB8}" dt="2024-05-23T07:12:55.095" v="1420" actId="478"/>
          <pc:sldLayoutMkLst>
            <pc:docMk/>
            <pc:sldMasterMk cId="74579786" sldId="2147483676"/>
            <pc:sldLayoutMk cId="1497590632" sldId="2147483690"/>
          </pc:sldLayoutMkLst>
          <pc:spChg chg="del">
            <ac:chgData name="Coertze, Roelof" userId="f34fe284-20c3-480c-8d68-d60183ecdf6b" providerId="ADAL" clId="{088A9083-89BD-469B-ABE6-EFCA5AB8EDB8}" dt="2024-05-23T07:12:55.095" v="1420" actId="478"/>
            <ac:spMkLst>
              <pc:docMk/>
              <pc:sldMasterMk cId="74579786" sldId="2147483676"/>
              <pc:sldLayoutMk cId="1497590632" sldId="2147483690"/>
              <ac:spMk id="11" creationId="{36C6339C-A307-C240-A352-8D2FB22A315B}"/>
            </ac:spMkLst>
          </pc:spChg>
          <pc:spChg chg="del">
            <ac:chgData name="Coertze, Roelof" userId="f34fe284-20c3-480c-8d68-d60183ecdf6b" providerId="ADAL" clId="{088A9083-89BD-469B-ABE6-EFCA5AB8EDB8}" dt="2024-05-23T07:12:53.571" v="1419" actId="478"/>
            <ac:spMkLst>
              <pc:docMk/>
              <pc:sldMasterMk cId="74579786" sldId="2147483676"/>
              <pc:sldLayoutMk cId="1497590632" sldId="2147483690"/>
              <ac:spMk id="16" creationId="{36C6339C-A307-C240-A352-8D2FB22A315B}"/>
            </ac:spMkLst>
          </pc:spChg>
        </pc:sldLayoutChg>
        <pc:sldLayoutChg chg="delSp mod">
          <pc:chgData name="Coertze, Roelof" userId="f34fe284-20c3-480c-8d68-d60183ecdf6b" providerId="ADAL" clId="{088A9083-89BD-469B-ABE6-EFCA5AB8EDB8}" dt="2024-05-23T07:13:12.781" v="1431" actId="478"/>
          <pc:sldLayoutMkLst>
            <pc:docMk/>
            <pc:sldMasterMk cId="74579786" sldId="2147483676"/>
            <pc:sldLayoutMk cId="250937936" sldId="2147483691"/>
          </pc:sldLayoutMkLst>
          <pc:spChg chg="del">
            <ac:chgData name="Coertze, Roelof" userId="f34fe284-20c3-480c-8d68-d60183ecdf6b" providerId="ADAL" clId="{088A9083-89BD-469B-ABE6-EFCA5AB8EDB8}" dt="2024-05-23T07:13:12.781" v="1431" actId="478"/>
            <ac:spMkLst>
              <pc:docMk/>
              <pc:sldMasterMk cId="74579786" sldId="2147483676"/>
              <pc:sldLayoutMk cId="250937936" sldId="2147483691"/>
              <ac:spMk id="13" creationId="{62437B32-2594-0D46-8C17-03FA0AE37E95}"/>
            </ac:spMkLst>
          </pc:spChg>
          <pc:spChg chg="del">
            <ac:chgData name="Coertze, Roelof" userId="f34fe284-20c3-480c-8d68-d60183ecdf6b" providerId="ADAL" clId="{088A9083-89BD-469B-ABE6-EFCA5AB8EDB8}" dt="2024-05-23T07:13:11.980" v="1430" actId="478"/>
            <ac:spMkLst>
              <pc:docMk/>
              <pc:sldMasterMk cId="74579786" sldId="2147483676"/>
              <pc:sldLayoutMk cId="250937936" sldId="2147483691"/>
              <ac:spMk id="17" creationId="{62437B32-2594-0D46-8C17-03FA0AE37E95}"/>
            </ac:spMkLst>
          </pc:spChg>
        </pc:sldLayoutChg>
        <pc:sldLayoutChg chg="del">
          <pc:chgData name="Coertze, Roelof" userId="f34fe284-20c3-480c-8d68-d60183ecdf6b" providerId="ADAL" clId="{088A9083-89BD-469B-ABE6-EFCA5AB8EDB8}" dt="2024-05-23T11:00:40.931" v="3657" actId="47"/>
          <pc:sldLayoutMkLst>
            <pc:docMk/>
            <pc:sldMasterMk cId="74579786" sldId="2147483676"/>
            <pc:sldLayoutMk cId="897272001" sldId="2147483733"/>
          </pc:sldLayoutMkLst>
        </pc:sldLayoutChg>
      </pc:sldMasterChg>
      <pc:sldMasterChg chg="modSldLayout">
        <pc:chgData name="Coertze, Roelof" userId="f34fe284-20c3-480c-8d68-d60183ecdf6b" providerId="ADAL" clId="{088A9083-89BD-469B-ABE6-EFCA5AB8EDB8}" dt="2024-05-23T07:13:51.189" v="1455" actId="478"/>
        <pc:sldMasterMkLst>
          <pc:docMk/>
          <pc:sldMasterMk cId="1477098772" sldId="2147483692"/>
        </pc:sldMasterMkLst>
        <pc:sldLayoutChg chg="delSp mod">
          <pc:chgData name="Coertze, Roelof" userId="f34fe284-20c3-480c-8d68-d60183ecdf6b" providerId="ADAL" clId="{088A9083-89BD-469B-ABE6-EFCA5AB8EDB8}" dt="2024-05-23T07:13:16.919" v="1433" actId="478"/>
          <pc:sldLayoutMkLst>
            <pc:docMk/>
            <pc:sldMasterMk cId="1477098772" sldId="2147483692"/>
            <pc:sldLayoutMk cId="790725571" sldId="2147483695"/>
          </pc:sldLayoutMkLst>
          <pc:spChg chg="del">
            <ac:chgData name="Coertze, Roelof" userId="f34fe284-20c3-480c-8d68-d60183ecdf6b" providerId="ADAL" clId="{088A9083-89BD-469B-ABE6-EFCA5AB8EDB8}" dt="2024-05-23T07:13:16.919" v="1433" actId="478"/>
            <ac:spMkLst>
              <pc:docMk/>
              <pc:sldMasterMk cId="1477098772" sldId="2147483692"/>
              <pc:sldLayoutMk cId="790725571" sldId="2147483695"/>
              <ac:spMk id="7" creationId="{00000000-0000-0000-0000-000000000000}"/>
            </ac:spMkLst>
          </pc:spChg>
          <pc:spChg chg="del">
            <ac:chgData name="Coertze, Roelof" userId="f34fe284-20c3-480c-8d68-d60183ecdf6b" providerId="ADAL" clId="{088A9083-89BD-469B-ABE6-EFCA5AB8EDB8}" dt="2024-05-23T07:13:16.196" v="1432" actId="478"/>
            <ac:spMkLst>
              <pc:docMk/>
              <pc:sldMasterMk cId="1477098772" sldId="2147483692"/>
              <pc:sldLayoutMk cId="790725571" sldId="2147483695"/>
              <ac:spMk id="12" creationId="{00000000-0000-0000-0000-000000000000}"/>
            </ac:spMkLst>
          </pc:spChg>
        </pc:sldLayoutChg>
        <pc:sldLayoutChg chg="delSp mod">
          <pc:chgData name="Coertze, Roelof" userId="f34fe284-20c3-480c-8d68-d60183ecdf6b" providerId="ADAL" clId="{088A9083-89BD-469B-ABE6-EFCA5AB8EDB8}" dt="2024-05-23T07:13:19.370" v="1434" actId="478"/>
          <pc:sldLayoutMkLst>
            <pc:docMk/>
            <pc:sldMasterMk cId="1477098772" sldId="2147483692"/>
            <pc:sldLayoutMk cId="874709358" sldId="2147483696"/>
          </pc:sldLayoutMkLst>
          <pc:spChg chg="del">
            <ac:chgData name="Coertze, Roelof" userId="f34fe284-20c3-480c-8d68-d60183ecdf6b" providerId="ADAL" clId="{088A9083-89BD-469B-ABE6-EFCA5AB8EDB8}" dt="2024-05-23T07:13:19.370" v="1434" actId="478"/>
            <ac:spMkLst>
              <pc:docMk/>
              <pc:sldMasterMk cId="1477098772" sldId="2147483692"/>
              <pc:sldLayoutMk cId="874709358" sldId="2147483696"/>
              <ac:spMk id="16" creationId="{00000000-0000-0000-0000-000000000000}"/>
            </ac:spMkLst>
          </pc:spChg>
        </pc:sldLayoutChg>
        <pc:sldLayoutChg chg="delSp mod">
          <pc:chgData name="Coertze, Roelof" userId="f34fe284-20c3-480c-8d68-d60183ecdf6b" providerId="ADAL" clId="{088A9083-89BD-469B-ABE6-EFCA5AB8EDB8}" dt="2024-05-23T07:13:21.758" v="1436" actId="478"/>
          <pc:sldLayoutMkLst>
            <pc:docMk/>
            <pc:sldMasterMk cId="1477098772" sldId="2147483692"/>
            <pc:sldLayoutMk cId="3122206461" sldId="2147483697"/>
          </pc:sldLayoutMkLst>
          <pc:spChg chg="del">
            <ac:chgData name="Coertze, Roelof" userId="f34fe284-20c3-480c-8d68-d60183ecdf6b" providerId="ADAL" clId="{088A9083-89BD-469B-ABE6-EFCA5AB8EDB8}" dt="2024-05-23T07:13:21.758" v="1436" actId="478"/>
            <ac:spMkLst>
              <pc:docMk/>
              <pc:sldMasterMk cId="1477098772" sldId="2147483692"/>
              <pc:sldLayoutMk cId="3122206461" sldId="2147483697"/>
              <ac:spMk id="9" creationId="{D579A68D-AE76-5F48-856E-5AD1201DC09A}"/>
            </ac:spMkLst>
          </pc:spChg>
          <pc:spChg chg="del">
            <ac:chgData name="Coertze, Roelof" userId="f34fe284-20c3-480c-8d68-d60183ecdf6b" providerId="ADAL" clId="{088A9083-89BD-469B-ABE6-EFCA5AB8EDB8}" dt="2024-05-23T07:13:20.832" v="1435" actId="478"/>
            <ac:spMkLst>
              <pc:docMk/>
              <pc:sldMasterMk cId="1477098772" sldId="2147483692"/>
              <pc:sldLayoutMk cId="3122206461" sldId="2147483697"/>
              <ac:spMk id="13" creationId="{D579A68D-AE76-5F48-856E-5AD1201DC09A}"/>
            </ac:spMkLst>
          </pc:spChg>
        </pc:sldLayoutChg>
        <pc:sldLayoutChg chg="delSp mod">
          <pc:chgData name="Coertze, Roelof" userId="f34fe284-20c3-480c-8d68-d60183ecdf6b" providerId="ADAL" clId="{088A9083-89BD-469B-ABE6-EFCA5AB8EDB8}" dt="2024-05-23T07:13:28.287" v="1438" actId="478"/>
          <pc:sldLayoutMkLst>
            <pc:docMk/>
            <pc:sldMasterMk cId="1477098772" sldId="2147483692"/>
            <pc:sldLayoutMk cId="1772847896" sldId="2147483698"/>
          </pc:sldLayoutMkLst>
          <pc:spChg chg="del">
            <ac:chgData name="Coertze, Roelof" userId="f34fe284-20c3-480c-8d68-d60183ecdf6b" providerId="ADAL" clId="{088A9083-89BD-469B-ABE6-EFCA5AB8EDB8}" dt="2024-05-23T07:13:28.287" v="1438" actId="478"/>
            <ac:spMkLst>
              <pc:docMk/>
              <pc:sldMasterMk cId="1477098772" sldId="2147483692"/>
              <pc:sldLayoutMk cId="1772847896" sldId="2147483698"/>
              <ac:spMk id="10" creationId="{F9FB5E5B-2511-0C47-ADEE-0DD02DA4EA32}"/>
            </ac:spMkLst>
          </pc:spChg>
          <pc:spChg chg="del">
            <ac:chgData name="Coertze, Roelof" userId="f34fe284-20c3-480c-8d68-d60183ecdf6b" providerId="ADAL" clId="{088A9083-89BD-469B-ABE6-EFCA5AB8EDB8}" dt="2024-05-23T07:13:27.581" v="1437" actId="478"/>
            <ac:spMkLst>
              <pc:docMk/>
              <pc:sldMasterMk cId="1477098772" sldId="2147483692"/>
              <pc:sldLayoutMk cId="1772847896" sldId="2147483698"/>
              <ac:spMk id="15" creationId="{F9FB5E5B-2511-0C47-ADEE-0DD02DA4EA32}"/>
            </ac:spMkLst>
          </pc:spChg>
        </pc:sldLayoutChg>
        <pc:sldLayoutChg chg="delSp mod">
          <pc:chgData name="Coertze, Roelof" userId="f34fe284-20c3-480c-8d68-d60183ecdf6b" providerId="ADAL" clId="{088A9083-89BD-469B-ABE6-EFCA5AB8EDB8}" dt="2024-05-23T07:13:30.485" v="1440" actId="478"/>
          <pc:sldLayoutMkLst>
            <pc:docMk/>
            <pc:sldMasterMk cId="1477098772" sldId="2147483692"/>
            <pc:sldLayoutMk cId="2617158386" sldId="2147483699"/>
          </pc:sldLayoutMkLst>
          <pc:spChg chg="del">
            <ac:chgData name="Coertze, Roelof" userId="f34fe284-20c3-480c-8d68-d60183ecdf6b" providerId="ADAL" clId="{088A9083-89BD-469B-ABE6-EFCA5AB8EDB8}" dt="2024-05-23T07:13:30.485" v="1440" actId="478"/>
            <ac:spMkLst>
              <pc:docMk/>
              <pc:sldMasterMk cId="1477098772" sldId="2147483692"/>
              <pc:sldLayoutMk cId="2617158386" sldId="2147483699"/>
              <ac:spMk id="11" creationId="{36C6339C-A307-C240-A352-8D2FB22A315B}"/>
            </ac:spMkLst>
          </pc:spChg>
          <pc:spChg chg="del">
            <ac:chgData name="Coertze, Roelof" userId="f34fe284-20c3-480c-8d68-d60183ecdf6b" providerId="ADAL" clId="{088A9083-89BD-469B-ABE6-EFCA5AB8EDB8}" dt="2024-05-23T07:13:29.798" v="1439" actId="478"/>
            <ac:spMkLst>
              <pc:docMk/>
              <pc:sldMasterMk cId="1477098772" sldId="2147483692"/>
              <pc:sldLayoutMk cId="2617158386" sldId="2147483699"/>
              <ac:spMk id="16" creationId="{36C6339C-A307-C240-A352-8D2FB22A315B}"/>
            </ac:spMkLst>
          </pc:spChg>
        </pc:sldLayoutChg>
        <pc:sldLayoutChg chg="delSp mod">
          <pc:chgData name="Coertze, Roelof" userId="f34fe284-20c3-480c-8d68-d60183ecdf6b" providerId="ADAL" clId="{088A9083-89BD-469B-ABE6-EFCA5AB8EDB8}" dt="2024-05-23T07:13:32.592" v="1442" actId="478"/>
          <pc:sldLayoutMkLst>
            <pc:docMk/>
            <pc:sldMasterMk cId="1477098772" sldId="2147483692"/>
            <pc:sldLayoutMk cId="3541111096" sldId="2147483700"/>
          </pc:sldLayoutMkLst>
          <pc:spChg chg="del">
            <ac:chgData name="Coertze, Roelof" userId="f34fe284-20c3-480c-8d68-d60183ecdf6b" providerId="ADAL" clId="{088A9083-89BD-469B-ABE6-EFCA5AB8EDB8}" dt="2024-05-23T07:13:32.592" v="1442" actId="478"/>
            <ac:spMkLst>
              <pc:docMk/>
              <pc:sldMasterMk cId="1477098772" sldId="2147483692"/>
              <pc:sldLayoutMk cId="3541111096" sldId="2147483700"/>
              <ac:spMk id="11" creationId="{36C6339C-A307-C240-A352-8D2FB22A315B}"/>
            </ac:spMkLst>
          </pc:spChg>
          <pc:spChg chg="del">
            <ac:chgData name="Coertze, Roelof" userId="f34fe284-20c3-480c-8d68-d60183ecdf6b" providerId="ADAL" clId="{088A9083-89BD-469B-ABE6-EFCA5AB8EDB8}" dt="2024-05-23T07:13:31.916" v="1441" actId="478"/>
            <ac:spMkLst>
              <pc:docMk/>
              <pc:sldMasterMk cId="1477098772" sldId="2147483692"/>
              <pc:sldLayoutMk cId="3541111096" sldId="2147483700"/>
              <ac:spMk id="16" creationId="{36C6339C-A307-C240-A352-8D2FB22A315B}"/>
            </ac:spMkLst>
          </pc:spChg>
        </pc:sldLayoutChg>
        <pc:sldLayoutChg chg="delSp mod">
          <pc:chgData name="Coertze, Roelof" userId="f34fe284-20c3-480c-8d68-d60183ecdf6b" providerId="ADAL" clId="{088A9083-89BD-469B-ABE6-EFCA5AB8EDB8}" dt="2024-05-23T07:13:34.680" v="1444" actId="478"/>
          <pc:sldLayoutMkLst>
            <pc:docMk/>
            <pc:sldMasterMk cId="1477098772" sldId="2147483692"/>
            <pc:sldLayoutMk cId="1019332025" sldId="2147483701"/>
          </pc:sldLayoutMkLst>
          <pc:spChg chg="del">
            <ac:chgData name="Coertze, Roelof" userId="f34fe284-20c3-480c-8d68-d60183ecdf6b" providerId="ADAL" clId="{088A9083-89BD-469B-ABE6-EFCA5AB8EDB8}" dt="2024-05-23T07:13:34.680" v="1444" actId="478"/>
            <ac:spMkLst>
              <pc:docMk/>
              <pc:sldMasterMk cId="1477098772" sldId="2147483692"/>
              <pc:sldLayoutMk cId="1019332025" sldId="2147483701"/>
              <ac:spMk id="9" creationId="{8CF4C638-3DC8-5D43-944E-016C4BA817EF}"/>
            </ac:spMkLst>
          </pc:spChg>
          <pc:spChg chg="del">
            <ac:chgData name="Coertze, Roelof" userId="f34fe284-20c3-480c-8d68-d60183ecdf6b" providerId="ADAL" clId="{088A9083-89BD-469B-ABE6-EFCA5AB8EDB8}" dt="2024-05-23T07:13:33.974" v="1443" actId="478"/>
            <ac:spMkLst>
              <pc:docMk/>
              <pc:sldMasterMk cId="1477098772" sldId="2147483692"/>
              <pc:sldLayoutMk cId="1019332025" sldId="2147483701"/>
              <ac:spMk id="14" creationId="{8CF4C638-3DC8-5D43-944E-016C4BA817EF}"/>
            </ac:spMkLst>
          </pc:spChg>
        </pc:sldLayoutChg>
        <pc:sldLayoutChg chg="delSp mod">
          <pc:chgData name="Coertze, Roelof" userId="f34fe284-20c3-480c-8d68-d60183ecdf6b" providerId="ADAL" clId="{088A9083-89BD-469B-ABE6-EFCA5AB8EDB8}" dt="2024-05-23T07:13:36.016" v="1445" actId="478"/>
          <pc:sldLayoutMkLst>
            <pc:docMk/>
            <pc:sldMasterMk cId="1477098772" sldId="2147483692"/>
            <pc:sldLayoutMk cId="3221522156" sldId="2147483702"/>
          </pc:sldLayoutMkLst>
          <pc:spChg chg="del">
            <ac:chgData name="Coertze, Roelof" userId="f34fe284-20c3-480c-8d68-d60183ecdf6b" providerId="ADAL" clId="{088A9083-89BD-469B-ABE6-EFCA5AB8EDB8}" dt="2024-05-23T07:13:36.016" v="1445" actId="478"/>
            <ac:spMkLst>
              <pc:docMk/>
              <pc:sldMasterMk cId="1477098772" sldId="2147483692"/>
              <pc:sldLayoutMk cId="3221522156" sldId="2147483702"/>
              <ac:spMk id="8" creationId="{AD06EF2F-09F2-7346-8091-EF6BCFE89074}"/>
            </ac:spMkLst>
          </pc:spChg>
        </pc:sldLayoutChg>
        <pc:sldLayoutChg chg="delSp mod">
          <pc:chgData name="Coertze, Roelof" userId="f34fe284-20c3-480c-8d68-d60183ecdf6b" providerId="ADAL" clId="{088A9083-89BD-469B-ABE6-EFCA5AB8EDB8}" dt="2024-05-23T07:13:38.816" v="1447" actId="478"/>
          <pc:sldLayoutMkLst>
            <pc:docMk/>
            <pc:sldMasterMk cId="1477098772" sldId="2147483692"/>
            <pc:sldLayoutMk cId="2090786871" sldId="2147483703"/>
          </pc:sldLayoutMkLst>
          <pc:spChg chg="del">
            <ac:chgData name="Coertze, Roelof" userId="f34fe284-20c3-480c-8d68-d60183ecdf6b" providerId="ADAL" clId="{088A9083-89BD-469B-ABE6-EFCA5AB8EDB8}" dt="2024-05-23T07:13:38.816" v="1447" actId="478"/>
            <ac:spMkLst>
              <pc:docMk/>
              <pc:sldMasterMk cId="1477098772" sldId="2147483692"/>
              <pc:sldLayoutMk cId="2090786871" sldId="2147483703"/>
              <ac:spMk id="10" creationId="{32B379F4-E7A1-DF46-A00A-70115D64C283}"/>
            </ac:spMkLst>
          </pc:spChg>
          <pc:spChg chg="del">
            <ac:chgData name="Coertze, Roelof" userId="f34fe284-20c3-480c-8d68-d60183ecdf6b" providerId="ADAL" clId="{088A9083-89BD-469B-ABE6-EFCA5AB8EDB8}" dt="2024-05-23T07:13:37.874" v="1446" actId="478"/>
            <ac:spMkLst>
              <pc:docMk/>
              <pc:sldMasterMk cId="1477098772" sldId="2147483692"/>
              <pc:sldLayoutMk cId="2090786871" sldId="2147483703"/>
              <ac:spMk id="16" creationId="{32B379F4-E7A1-DF46-A00A-70115D64C283}"/>
            </ac:spMkLst>
          </pc:spChg>
        </pc:sldLayoutChg>
        <pc:sldLayoutChg chg="delSp mod">
          <pc:chgData name="Coertze, Roelof" userId="f34fe284-20c3-480c-8d68-d60183ecdf6b" providerId="ADAL" clId="{088A9083-89BD-469B-ABE6-EFCA5AB8EDB8}" dt="2024-05-23T07:13:40.671" v="1449" actId="478"/>
          <pc:sldLayoutMkLst>
            <pc:docMk/>
            <pc:sldMasterMk cId="1477098772" sldId="2147483692"/>
            <pc:sldLayoutMk cId="140019387" sldId="2147483704"/>
          </pc:sldLayoutMkLst>
          <pc:spChg chg="del">
            <ac:chgData name="Coertze, Roelof" userId="f34fe284-20c3-480c-8d68-d60183ecdf6b" providerId="ADAL" clId="{088A9083-89BD-469B-ABE6-EFCA5AB8EDB8}" dt="2024-05-23T07:13:40.671" v="1449" actId="478"/>
            <ac:spMkLst>
              <pc:docMk/>
              <pc:sldMasterMk cId="1477098772" sldId="2147483692"/>
              <pc:sldLayoutMk cId="140019387" sldId="2147483704"/>
              <ac:spMk id="13" creationId="{62437B32-2594-0D46-8C17-03FA0AE37E95}"/>
            </ac:spMkLst>
          </pc:spChg>
          <pc:spChg chg="del">
            <ac:chgData name="Coertze, Roelof" userId="f34fe284-20c3-480c-8d68-d60183ecdf6b" providerId="ADAL" clId="{088A9083-89BD-469B-ABE6-EFCA5AB8EDB8}" dt="2024-05-23T07:13:39.979" v="1448" actId="478"/>
            <ac:spMkLst>
              <pc:docMk/>
              <pc:sldMasterMk cId="1477098772" sldId="2147483692"/>
              <pc:sldLayoutMk cId="140019387" sldId="2147483704"/>
              <ac:spMk id="17" creationId="{62437B32-2594-0D46-8C17-03FA0AE37E95}"/>
            </ac:spMkLst>
          </pc:spChg>
        </pc:sldLayoutChg>
        <pc:sldLayoutChg chg="delSp mod">
          <pc:chgData name="Coertze, Roelof" userId="f34fe284-20c3-480c-8d68-d60183ecdf6b" providerId="ADAL" clId="{088A9083-89BD-469B-ABE6-EFCA5AB8EDB8}" dt="2024-05-23T07:13:42.523" v="1451" actId="478"/>
          <pc:sldLayoutMkLst>
            <pc:docMk/>
            <pc:sldMasterMk cId="1477098772" sldId="2147483692"/>
            <pc:sldLayoutMk cId="557818362" sldId="2147483705"/>
          </pc:sldLayoutMkLst>
          <pc:spChg chg="del">
            <ac:chgData name="Coertze, Roelof" userId="f34fe284-20c3-480c-8d68-d60183ecdf6b" providerId="ADAL" clId="{088A9083-89BD-469B-ABE6-EFCA5AB8EDB8}" dt="2024-05-23T07:13:42.523" v="1451" actId="478"/>
            <ac:spMkLst>
              <pc:docMk/>
              <pc:sldMasterMk cId="1477098772" sldId="2147483692"/>
              <pc:sldLayoutMk cId="557818362" sldId="2147483705"/>
              <ac:spMk id="13" creationId="{62437B32-2594-0D46-8C17-03FA0AE37E95}"/>
            </ac:spMkLst>
          </pc:spChg>
          <pc:spChg chg="del">
            <ac:chgData name="Coertze, Roelof" userId="f34fe284-20c3-480c-8d68-d60183ecdf6b" providerId="ADAL" clId="{088A9083-89BD-469B-ABE6-EFCA5AB8EDB8}" dt="2024-05-23T07:13:41.892" v="1450" actId="478"/>
            <ac:spMkLst>
              <pc:docMk/>
              <pc:sldMasterMk cId="1477098772" sldId="2147483692"/>
              <pc:sldLayoutMk cId="557818362" sldId="2147483705"/>
              <ac:spMk id="17" creationId="{62437B32-2594-0D46-8C17-03FA0AE37E95}"/>
            </ac:spMkLst>
          </pc:spChg>
        </pc:sldLayoutChg>
        <pc:sldLayoutChg chg="delSp mod">
          <pc:chgData name="Coertze, Roelof" userId="f34fe284-20c3-480c-8d68-d60183ecdf6b" providerId="ADAL" clId="{088A9083-89BD-469B-ABE6-EFCA5AB8EDB8}" dt="2024-05-23T07:13:44.578" v="1453" actId="478"/>
          <pc:sldLayoutMkLst>
            <pc:docMk/>
            <pc:sldMasterMk cId="1477098772" sldId="2147483692"/>
            <pc:sldLayoutMk cId="2636378795" sldId="2147483706"/>
          </pc:sldLayoutMkLst>
          <pc:spChg chg="del">
            <ac:chgData name="Coertze, Roelof" userId="f34fe284-20c3-480c-8d68-d60183ecdf6b" providerId="ADAL" clId="{088A9083-89BD-469B-ABE6-EFCA5AB8EDB8}" dt="2024-05-23T07:13:44.578" v="1453" actId="478"/>
            <ac:spMkLst>
              <pc:docMk/>
              <pc:sldMasterMk cId="1477098772" sldId="2147483692"/>
              <pc:sldLayoutMk cId="2636378795" sldId="2147483706"/>
              <ac:spMk id="13" creationId="{62437B32-2594-0D46-8C17-03FA0AE37E95}"/>
            </ac:spMkLst>
          </pc:spChg>
          <pc:spChg chg="del">
            <ac:chgData name="Coertze, Roelof" userId="f34fe284-20c3-480c-8d68-d60183ecdf6b" providerId="ADAL" clId="{088A9083-89BD-469B-ABE6-EFCA5AB8EDB8}" dt="2024-05-23T07:13:43.887" v="1452" actId="478"/>
            <ac:spMkLst>
              <pc:docMk/>
              <pc:sldMasterMk cId="1477098772" sldId="2147483692"/>
              <pc:sldLayoutMk cId="2636378795" sldId="2147483706"/>
              <ac:spMk id="17" creationId="{62437B32-2594-0D46-8C17-03FA0AE37E95}"/>
            </ac:spMkLst>
          </pc:spChg>
        </pc:sldLayoutChg>
        <pc:sldLayoutChg chg="delSp mod">
          <pc:chgData name="Coertze, Roelof" userId="f34fe284-20c3-480c-8d68-d60183ecdf6b" providerId="ADAL" clId="{088A9083-89BD-469B-ABE6-EFCA5AB8EDB8}" dt="2024-05-23T07:13:48.661" v="1454" actId="478"/>
          <pc:sldLayoutMkLst>
            <pc:docMk/>
            <pc:sldMasterMk cId="1477098772" sldId="2147483692"/>
            <pc:sldLayoutMk cId="1693793030" sldId="2147483709"/>
          </pc:sldLayoutMkLst>
          <pc:spChg chg="del">
            <ac:chgData name="Coertze, Roelof" userId="f34fe284-20c3-480c-8d68-d60183ecdf6b" providerId="ADAL" clId="{088A9083-89BD-469B-ABE6-EFCA5AB8EDB8}" dt="2024-05-23T07:13:48.661" v="1454" actId="478"/>
            <ac:spMkLst>
              <pc:docMk/>
              <pc:sldMasterMk cId="1477098772" sldId="2147483692"/>
              <pc:sldLayoutMk cId="1693793030" sldId="2147483709"/>
              <ac:spMk id="10" creationId="{875A7E23-344B-4285-A58A-15A259E56014}"/>
            </ac:spMkLst>
          </pc:spChg>
        </pc:sldLayoutChg>
        <pc:sldLayoutChg chg="delSp mod">
          <pc:chgData name="Coertze, Roelof" userId="f34fe284-20c3-480c-8d68-d60183ecdf6b" providerId="ADAL" clId="{088A9083-89BD-469B-ABE6-EFCA5AB8EDB8}" dt="2024-05-23T07:13:51.189" v="1455" actId="478"/>
          <pc:sldLayoutMkLst>
            <pc:docMk/>
            <pc:sldMasterMk cId="1477098772" sldId="2147483692"/>
            <pc:sldLayoutMk cId="2329731180" sldId="2147483711"/>
          </pc:sldLayoutMkLst>
          <pc:spChg chg="del">
            <ac:chgData name="Coertze, Roelof" userId="f34fe284-20c3-480c-8d68-d60183ecdf6b" providerId="ADAL" clId="{088A9083-89BD-469B-ABE6-EFCA5AB8EDB8}" dt="2024-05-23T07:13:51.189" v="1455" actId="478"/>
            <ac:spMkLst>
              <pc:docMk/>
              <pc:sldMasterMk cId="1477098772" sldId="2147483692"/>
              <pc:sldLayoutMk cId="2329731180" sldId="2147483711"/>
              <ac:spMk id="16" creationId="{00000000-0000-0000-0000-000000000000}"/>
            </ac:spMkLst>
          </pc:spChg>
        </pc:sldLayoutChg>
      </pc:sldMasterChg>
      <pc:sldMasterChg chg="modSldLayout">
        <pc:chgData name="Coertze, Roelof" userId="f34fe284-20c3-480c-8d68-d60183ecdf6b" providerId="ADAL" clId="{088A9083-89BD-469B-ABE6-EFCA5AB8EDB8}" dt="2024-05-23T07:14:20.644" v="1478" actId="478"/>
        <pc:sldMasterMkLst>
          <pc:docMk/>
          <pc:sldMasterMk cId="1215820505" sldId="2147483715"/>
        </pc:sldMasterMkLst>
        <pc:sldLayoutChg chg="delSp modSp mod">
          <pc:chgData name="Coertze, Roelof" userId="f34fe284-20c3-480c-8d68-d60183ecdf6b" providerId="ADAL" clId="{088A9083-89BD-469B-ABE6-EFCA5AB8EDB8}" dt="2024-05-23T07:13:58.510" v="1459" actId="478"/>
          <pc:sldLayoutMkLst>
            <pc:docMk/>
            <pc:sldMasterMk cId="1215820505" sldId="2147483715"/>
            <pc:sldLayoutMk cId="1504853338" sldId="2147483718"/>
          </pc:sldLayoutMkLst>
          <pc:spChg chg="del mod">
            <ac:chgData name="Coertze, Roelof" userId="f34fe284-20c3-480c-8d68-d60183ecdf6b" providerId="ADAL" clId="{088A9083-89BD-469B-ABE6-EFCA5AB8EDB8}" dt="2024-05-23T07:13:58.510" v="1459" actId="478"/>
            <ac:spMkLst>
              <pc:docMk/>
              <pc:sldMasterMk cId="1215820505" sldId="2147483715"/>
              <pc:sldLayoutMk cId="1504853338" sldId="2147483718"/>
              <ac:spMk id="7" creationId="{00000000-0000-0000-0000-000000000000}"/>
            </ac:spMkLst>
          </pc:spChg>
          <pc:spChg chg="del mod">
            <ac:chgData name="Coertze, Roelof" userId="f34fe284-20c3-480c-8d68-d60183ecdf6b" providerId="ADAL" clId="{088A9083-89BD-469B-ABE6-EFCA5AB8EDB8}" dt="2024-05-23T07:13:56.985" v="1457" actId="478"/>
            <ac:spMkLst>
              <pc:docMk/>
              <pc:sldMasterMk cId="1215820505" sldId="2147483715"/>
              <pc:sldLayoutMk cId="1504853338" sldId="2147483718"/>
              <ac:spMk id="12" creationId="{00000000-0000-0000-0000-000000000000}"/>
            </ac:spMkLst>
          </pc:spChg>
        </pc:sldLayoutChg>
        <pc:sldLayoutChg chg="delSp mod">
          <pc:chgData name="Coertze, Roelof" userId="f34fe284-20c3-480c-8d68-d60183ecdf6b" providerId="ADAL" clId="{088A9083-89BD-469B-ABE6-EFCA5AB8EDB8}" dt="2024-05-23T07:14:01.592" v="1461" actId="478"/>
          <pc:sldLayoutMkLst>
            <pc:docMk/>
            <pc:sldMasterMk cId="1215820505" sldId="2147483715"/>
            <pc:sldLayoutMk cId="2587448784" sldId="2147483719"/>
          </pc:sldLayoutMkLst>
          <pc:spChg chg="del">
            <ac:chgData name="Coertze, Roelof" userId="f34fe284-20c3-480c-8d68-d60183ecdf6b" providerId="ADAL" clId="{088A9083-89BD-469B-ABE6-EFCA5AB8EDB8}" dt="2024-05-23T07:14:01.592" v="1461" actId="478"/>
            <ac:spMkLst>
              <pc:docMk/>
              <pc:sldMasterMk cId="1215820505" sldId="2147483715"/>
              <pc:sldLayoutMk cId="2587448784" sldId="2147483719"/>
              <ac:spMk id="9" creationId="{D579A68D-AE76-5F48-856E-5AD1201DC09A}"/>
            </ac:spMkLst>
          </pc:spChg>
          <pc:spChg chg="del">
            <ac:chgData name="Coertze, Roelof" userId="f34fe284-20c3-480c-8d68-d60183ecdf6b" providerId="ADAL" clId="{088A9083-89BD-469B-ABE6-EFCA5AB8EDB8}" dt="2024-05-23T07:14:00.804" v="1460" actId="478"/>
            <ac:spMkLst>
              <pc:docMk/>
              <pc:sldMasterMk cId="1215820505" sldId="2147483715"/>
              <pc:sldLayoutMk cId="2587448784" sldId="2147483719"/>
              <ac:spMk id="13" creationId="{D579A68D-AE76-5F48-856E-5AD1201DC09A}"/>
            </ac:spMkLst>
          </pc:spChg>
        </pc:sldLayoutChg>
        <pc:sldLayoutChg chg="delSp mod">
          <pc:chgData name="Coertze, Roelof" userId="f34fe284-20c3-480c-8d68-d60183ecdf6b" providerId="ADAL" clId="{088A9083-89BD-469B-ABE6-EFCA5AB8EDB8}" dt="2024-05-23T07:14:04.060" v="1463" actId="478"/>
          <pc:sldLayoutMkLst>
            <pc:docMk/>
            <pc:sldMasterMk cId="1215820505" sldId="2147483715"/>
            <pc:sldLayoutMk cId="3829277811" sldId="2147483720"/>
          </pc:sldLayoutMkLst>
          <pc:spChg chg="del">
            <ac:chgData name="Coertze, Roelof" userId="f34fe284-20c3-480c-8d68-d60183ecdf6b" providerId="ADAL" clId="{088A9083-89BD-469B-ABE6-EFCA5AB8EDB8}" dt="2024-05-23T07:14:04.060" v="1463" actId="478"/>
            <ac:spMkLst>
              <pc:docMk/>
              <pc:sldMasterMk cId="1215820505" sldId="2147483715"/>
              <pc:sldLayoutMk cId="3829277811" sldId="2147483720"/>
              <ac:spMk id="10" creationId="{F9FB5E5B-2511-0C47-ADEE-0DD02DA4EA32}"/>
            </ac:spMkLst>
          </pc:spChg>
          <pc:spChg chg="del">
            <ac:chgData name="Coertze, Roelof" userId="f34fe284-20c3-480c-8d68-d60183ecdf6b" providerId="ADAL" clId="{088A9083-89BD-469B-ABE6-EFCA5AB8EDB8}" dt="2024-05-23T07:14:03.385" v="1462" actId="478"/>
            <ac:spMkLst>
              <pc:docMk/>
              <pc:sldMasterMk cId="1215820505" sldId="2147483715"/>
              <pc:sldLayoutMk cId="3829277811" sldId="2147483720"/>
              <ac:spMk id="15" creationId="{F9FB5E5B-2511-0C47-ADEE-0DD02DA4EA32}"/>
            </ac:spMkLst>
          </pc:spChg>
        </pc:sldLayoutChg>
        <pc:sldLayoutChg chg="delSp mod">
          <pc:chgData name="Coertze, Roelof" userId="f34fe284-20c3-480c-8d68-d60183ecdf6b" providerId="ADAL" clId="{088A9083-89BD-469B-ABE6-EFCA5AB8EDB8}" dt="2024-05-23T07:14:06.024" v="1465" actId="478"/>
          <pc:sldLayoutMkLst>
            <pc:docMk/>
            <pc:sldMasterMk cId="1215820505" sldId="2147483715"/>
            <pc:sldLayoutMk cId="3145163411" sldId="2147483721"/>
          </pc:sldLayoutMkLst>
          <pc:spChg chg="del">
            <ac:chgData name="Coertze, Roelof" userId="f34fe284-20c3-480c-8d68-d60183ecdf6b" providerId="ADAL" clId="{088A9083-89BD-469B-ABE6-EFCA5AB8EDB8}" dt="2024-05-23T07:14:06.024" v="1465" actId="478"/>
            <ac:spMkLst>
              <pc:docMk/>
              <pc:sldMasterMk cId="1215820505" sldId="2147483715"/>
              <pc:sldLayoutMk cId="3145163411" sldId="2147483721"/>
              <ac:spMk id="11" creationId="{36C6339C-A307-C240-A352-8D2FB22A315B}"/>
            </ac:spMkLst>
          </pc:spChg>
          <pc:spChg chg="del">
            <ac:chgData name="Coertze, Roelof" userId="f34fe284-20c3-480c-8d68-d60183ecdf6b" providerId="ADAL" clId="{088A9083-89BD-469B-ABE6-EFCA5AB8EDB8}" dt="2024-05-23T07:14:05.285" v="1464" actId="478"/>
            <ac:spMkLst>
              <pc:docMk/>
              <pc:sldMasterMk cId="1215820505" sldId="2147483715"/>
              <pc:sldLayoutMk cId="3145163411" sldId="2147483721"/>
              <ac:spMk id="16" creationId="{36C6339C-A307-C240-A352-8D2FB22A315B}"/>
            </ac:spMkLst>
          </pc:spChg>
        </pc:sldLayoutChg>
        <pc:sldLayoutChg chg="delSp mod">
          <pc:chgData name="Coertze, Roelof" userId="f34fe284-20c3-480c-8d68-d60183ecdf6b" providerId="ADAL" clId="{088A9083-89BD-469B-ABE6-EFCA5AB8EDB8}" dt="2024-05-23T07:14:07.984" v="1467" actId="478"/>
          <pc:sldLayoutMkLst>
            <pc:docMk/>
            <pc:sldMasterMk cId="1215820505" sldId="2147483715"/>
            <pc:sldLayoutMk cId="561961881" sldId="2147483722"/>
          </pc:sldLayoutMkLst>
          <pc:spChg chg="del">
            <ac:chgData name="Coertze, Roelof" userId="f34fe284-20c3-480c-8d68-d60183ecdf6b" providerId="ADAL" clId="{088A9083-89BD-469B-ABE6-EFCA5AB8EDB8}" dt="2024-05-23T07:14:07.984" v="1467" actId="478"/>
            <ac:spMkLst>
              <pc:docMk/>
              <pc:sldMasterMk cId="1215820505" sldId="2147483715"/>
              <pc:sldLayoutMk cId="561961881" sldId="2147483722"/>
              <ac:spMk id="11" creationId="{36C6339C-A307-C240-A352-8D2FB22A315B}"/>
            </ac:spMkLst>
          </pc:spChg>
          <pc:spChg chg="del">
            <ac:chgData name="Coertze, Roelof" userId="f34fe284-20c3-480c-8d68-d60183ecdf6b" providerId="ADAL" clId="{088A9083-89BD-469B-ABE6-EFCA5AB8EDB8}" dt="2024-05-23T07:14:07.382" v="1466" actId="478"/>
            <ac:spMkLst>
              <pc:docMk/>
              <pc:sldMasterMk cId="1215820505" sldId="2147483715"/>
              <pc:sldLayoutMk cId="561961881" sldId="2147483722"/>
              <ac:spMk id="16" creationId="{36C6339C-A307-C240-A352-8D2FB22A315B}"/>
            </ac:spMkLst>
          </pc:spChg>
        </pc:sldLayoutChg>
        <pc:sldLayoutChg chg="delSp mod">
          <pc:chgData name="Coertze, Roelof" userId="f34fe284-20c3-480c-8d68-d60183ecdf6b" providerId="ADAL" clId="{088A9083-89BD-469B-ABE6-EFCA5AB8EDB8}" dt="2024-05-23T07:14:09.816" v="1469" actId="478"/>
          <pc:sldLayoutMkLst>
            <pc:docMk/>
            <pc:sldMasterMk cId="1215820505" sldId="2147483715"/>
            <pc:sldLayoutMk cId="4222733961" sldId="2147483723"/>
          </pc:sldLayoutMkLst>
          <pc:spChg chg="del">
            <ac:chgData name="Coertze, Roelof" userId="f34fe284-20c3-480c-8d68-d60183ecdf6b" providerId="ADAL" clId="{088A9083-89BD-469B-ABE6-EFCA5AB8EDB8}" dt="2024-05-23T07:14:09.816" v="1469" actId="478"/>
            <ac:spMkLst>
              <pc:docMk/>
              <pc:sldMasterMk cId="1215820505" sldId="2147483715"/>
              <pc:sldLayoutMk cId="4222733961" sldId="2147483723"/>
              <ac:spMk id="9" creationId="{8CF4C638-3DC8-5D43-944E-016C4BA817EF}"/>
            </ac:spMkLst>
          </pc:spChg>
          <pc:spChg chg="del">
            <ac:chgData name="Coertze, Roelof" userId="f34fe284-20c3-480c-8d68-d60183ecdf6b" providerId="ADAL" clId="{088A9083-89BD-469B-ABE6-EFCA5AB8EDB8}" dt="2024-05-23T07:14:09.110" v="1468" actId="478"/>
            <ac:spMkLst>
              <pc:docMk/>
              <pc:sldMasterMk cId="1215820505" sldId="2147483715"/>
              <pc:sldLayoutMk cId="4222733961" sldId="2147483723"/>
              <ac:spMk id="14" creationId="{8CF4C638-3DC8-5D43-944E-016C4BA817EF}"/>
            </ac:spMkLst>
          </pc:spChg>
        </pc:sldLayoutChg>
        <pc:sldLayoutChg chg="delSp mod">
          <pc:chgData name="Coertze, Roelof" userId="f34fe284-20c3-480c-8d68-d60183ecdf6b" providerId="ADAL" clId="{088A9083-89BD-469B-ABE6-EFCA5AB8EDB8}" dt="2024-05-23T07:14:10.902" v="1470" actId="478"/>
          <pc:sldLayoutMkLst>
            <pc:docMk/>
            <pc:sldMasterMk cId="1215820505" sldId="2147483715"/>
            <pc:sldLayoutMk cId="1694693631" sldId="2147483724"/>
          </pc:sldLayoutMkLst>
          <pc:spChg chg="del">
            <ac:chgData name="Coertze, Roelof" userId="f34fe284-20c3-480c-8d68-d60183ecdf6b" providerId="ADAL" clId="{088A9083-89BD-469B-ABE6-EFCA5AB8EDB8}" dt="2024-05-23T07:14:10.902" v="1470" actId="478"/>
            <ac:spMkLst>
              <pc:docMk/>
              <pc:sldMasterMk cId="1215820505" sldId="2147483715"/>
              <pc:sldLayoutMk cId="1694693631" sldId="2147483724"/>
              <ac:spMk id="8" creationId="{AD06EF2F-09F2-7346-8091-EF6BCFE89074}"/>
            </ac:spMkLst>
          </pc:spChg>
        </pc:sldLayoutChg>
        <pc:sldLayoutChg chg="delSp mod">
          <pc:chgData name="Coertze, Roelof" userId="f34fe284-20c3-480c-8d68-d60183ecdf6b" providerId="ADAL" clId="{088A9083-89BD-469B-ABE6-EFCA5AB8EDB8}" dt="2024-05-23T07:14:13.353" v="1472" actId="478"/>
          <pc:sldLayoutMkLst>
            <pc:docMk/>
            <pc:sldMasterMk cId="1215820505" sldId="2147483715"/>
            <pc:sldLayoutMk cId="1598663882" sldId="2147483725"/>
          </pc:sldLayoutMkLst>
          <pc:spChg chg="del">
            <ac:chgData name="Coertze, Roelof" userId="f34fe284-20c3-480c-8d68-d60183ecdf6b" providerId="ADAL" clId="{088A9083-89BD-469B-ABE6-EFCA5AB8EDB8}" dt="2024-05-23T07:14:13.353" v="1472" actId="478"/>
            <ac:spMkLst>
              <pc:docMk/>
              <pc:sldMasterMk cId="1215820505" sldId="2147483715"/>
              <pc:sldLayoutMk cId="1598663882" sldId="2147483725"/>
              <ac:spMk id="10" creationId="{32B379F4-E7A1-DF46-A00A-70115D64C283}"/>
            </ac:spMkLst>
          </pc:spChg>
          <pc:spChg chg="del">
            <ac:chgData name="Coertze, Roelof" userId="f34fe284-20c3-480c-8d68-d60183ecdf6b" providerId="ADAL" clId="{088A9083-89BD-469B-ABE6-EFCA5AB8EDB8}" dt="2024-05-23T07:14:12.489" v="1471" actId="478"/>
            <ac:spMkLst>
              <pc:docMk/>
              <pc:sldMasterMk cId="1215820505" sldId="2147483715"/>
              <pc:sldLayoutMk cId="1598663882" sldId="2147483725"/>
              <ac:spMk id="16" creationId="{32B379F4-E7A1-DF46-A00A-70115D64C283}"/>
            </ac:spMkLst>
          </pc:spChg>
        </pc:sldLayoutChg>
        <pc:sldLayoutChg chg="delSp mod">
          <pc:chgData name="Coertze, Roelof" userId="f34fe284-20c3-480c-8d68-d60183ecdf6b" providerId="ADAL" clId="{088A9083-89BD-469B-ABE6-EFCA5AB8EDB8}" dt="2024-05-23T07:14:16.119" v="1474" actId="478"/>
          <pc:sldLayoutMkLst>
            <pc:docMk/>
            <pc:sldMasterMk cId="1215820505" sldId="2147483715"/>
            <pc:sldLayoutMk cId="2907675737" sldId="2147483726"/>
          </pc:sldLayoutMkLst>
          <pc:spChg chg="del">
            <ac:chgData name="Coertze, Roelof" userId="f34fe284-20c3-480c-8d68-d60183ecdf6b" providerId="ADAL" clId="{088A9083-89BD-469B-ABE6-EFCA5AB8EDB8}" dt="2024-05-23T07:14:16.119" v="1474" actId="478"/>
            <ac:spMkLst>
              <pc:docMk/>
              <pc:sldMasterMk cId="1215820505" sldId="2147483715"/>
              <pc:sldLayoutMk cId="2907675737" sldId="2147483726"/>
              <ac:spMk id="13" creationId="{62437B32-2594-0D46-8C17-03FA0AE37E95}"/>
            </ac:spMkLst>
          </pc:spChg>
          <pc:spChg chg="del">
            <ac:chgData name="Coertze, Roelof" userId="f34fe284-20c3-480c-8d68-d60183ecdf6b" providerId="ADAL" clId="{088A9083-89BD-469B-ABE6-EFCA5AB8EDB8}" dt="2024-05-23T07:14:15.348" v="1473" actId="478"/>
            <ac:spMkLst>
              <pc:docMk/>
              <pc:sldMasterMk cId="1215820505" sldId="2147483715"/>
              <pc:sldLayoutMk cId="2907675737" sldId="2147483726"/>
              <ac:spMk id="17" creationId="{62437B32-2594-0D46-8C17-03FA0AE37E95}"/>
            </ac:spMkLst>
          </pc:spChg>
        </pc:sldLayoutChg>
        <pc:sldLayoutChg chg="delSp mod">
          <pc:chgData name="Coertze, Roelof" userId="f34fe284-20c3-480c-8d68-d60183ecdf6b" providerId="ADAL" clId="{088A9083-89BD-469B-ABE6-EFCA5AB8EDB8}" dt="2024-05-23T07:14:18.067" v="1476" actId="478"/>
          <pc:sldLayoutMkLst>
            <pc:docMk/>
            <pc:sldMasterMk cId="1215820505" sldId="2147483715"/>
            <pc:sldLayoutMk cId="3424890423" sldId="2147483727"/>
          </pc:sldLayoutMkLst>
          <pc:spChg chg="del">
            <ac:chgData name="Coertze, Roelof" userId="f34fe284-20c3-480c-8d68-d60183ecdf6b" providerId="ADAL" clId="{088A9083-89BD-469B-ABE6-EFCA5AB8EDB8}" dt="2024-05-23T07:14:18.067" v="1476" actId="478"/>
            <ac:spMkLst>
              <pc:docMk/>
              <pc:sldMasterMk cId="1215820505" sldId="2147483715"/>
              <pc:sldLayoutMk cId="3424890423" sldId="2147483727"/>
              <ac:spMk id="13" creationId="{62437B32-2594-0D46-8C17-03FA0AE37E95}"/>
            </ac:spMkLst>
          </pc:spChg>
          <pc:spChg chg="del">
            <ac:chgData name="Coertze, Roelof" userId="f34fe284-20c3-480c-8d68-d60183ecdf6b" providerId="ADAL" clId="{088A9083-89BD-469B-ABE6-EFCA5AB8EDB8}" dt="2024-05-23T07:14:17.424" v="1475" actId="478"/>
            <ac:spMkLst>
              <pc:docMk/>
              <pc:sldMasterMk cId="1215820505" sldId="2147483715"/>
              <pc:sldLayoutMk cId="3424890423" sldId="2147483727"/>
              <ac:spMk id="17" creationId="{62437B32-2594-0D46-8C17-03FA0AE37E95}"/>
            </ac:spMkLst>
          </pc:spChg>
        </pc:sldLayoutChg>
        <pc:sldLayoutChg chg="delSp mod">
          <pc:chgData name="Coertze, Roelof" userId="f34fe284-20c3-480c-8d68-d60183ecdf6b" providerId="ADAL" clId="{088A9083-89BD-469B-ABE6-EFCA5AB8EDB8}" dt="2024-05-23T07:14:20.644" v="1478" actId="478"/>
          <pc:sldLayoutMkLst>
            <pc:docMk/>
            <pc:sldMasterMk cId="1215820505" sldId="2147483715"/>
            <pc:sldLayoutMk cId="2206968606" sldId="2147483729"/>
          </pc:sldLayoutMkLst>
          <pc:spChg chg="del">
            <ac:chgData name="Coertze, Roelof" userId="f34fe284-20c3-480c-8d68-d60183ecdf6b" providerId="ADAL" clId="{088A9083-89BD-469B-ABE6-EFCA5AB8EDB8}" dt="2024-05-23T07:14:20.644" v="1478" actId="478"/>
            <ac:spMkLst>
              <pc:docMk/>
              <pc:sldMasterMk cId="1215820505" sldId="2147483715"/>
              <pc:sldLayoutMk cId="2206968606" sldId="2147483729"/>
              <ac:spMk id="13" creationId="{62437B32-2594-0D46-8C17-03FA0AE37E95}"/>
            </ac:spMkLst>
          </pc:spChg>
          <pc:spChg chg="del">
            <ac:chgData name="Coertze, Roelof" userId="f34fe284-20c3-480c-8d68-d60183ecdf6b" providerId="ADAL" clId="{088A9083-89BD-469B-ABE6-EFCA5AB8EDB8}" dt="2024-05-23T07:14:20.062" v="1477" actId="478"/>
            <ac:spMkLst>
              <pc:docMk/>
              <pc:sldMasterMk cId="1215820505" sldId="2147483715"/>
              <pc:sldLayoutMk cId="2206968606" sldId="2147483729"/>
              <ac:spMk id="17" creationId="{62437B32-2594-0D46-8C17-03FA0AE37E95}"/>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71B287-52A8-409E-B51D-B54686E9EA3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SG"/>
        </a:p>
      </dgm:t>
    </dgm:pt>
    <dgm:pt modelId="{85C66A9C-2645-4D6D-8160-E22DB61B95C3}">
      <dgm:prSet phldrT="[Text]" custT="1"/>
      <dgm:spPr/>
      <dgm:t>
        <a:bodyPr/>
        <a:lstStyle/>
        <a:p>
          <a:r>
            <a:rPr lang="en-US" sz="2000" b="1" i="1" dirty="0">
              <a:latin typeface="Pru Sans Normal" panose="02000503000000020003" pitchFamily="2" charset="0"/>
            </a:rPr>
            <a:t>“We are Prudential.	</a:t>
          </a:r>
        </a:p>
        <a:p>
          <a:r>
            <a:rPr lang="en-US" sz="2000" b="1" i="1" dirty="0">
              <a:latin typeface="Pru Sans Normal" panose="02000503000000020003" pitchFamily="2" charset="0"/>
            </a:rPr>
            <a:t>For Every Life, For Every Future.”</a:t>
          </a:r>
          <a:endParaRPr lang="en-SG" sz="2000" i="1" dirty="0">
            <a:latin typeface="Pru Sans Normal" panose="02000503000000020003" pitchFamily="2" charset="0"/>
          </a:endParaRPr>
        </a:p>
      </dgm:t>
    </dgm:pt>
    <dgm:pt modelId="{58EA2243-40C7-4F02-A74D-87DA4AA3D5AA}" type="parTrans" cxnId="{574EAF41-53FF-4BA8-AD00-0F390BABD8CB}">
      <dgm:prSet/>
      <dgm:spPr/>
      <dgm:t>
        <a:bodyPr/>
        <a:lstStyle/>
        <a:p>
          <a:endParaRPr lang="en-SG" sz="1100">
            <a:latin typeface="Pru Sans Normal" panose="02000503000000020003" pitchFamily="2" charset="0"/>
          </a:endParaRPr>
        </a:p>
      </dgm:t>
    </dgm:pt>
    <dgm:pt modelId="{3559CF8D-3914-4279-A127-B098B083F42A}" type="sibTrans" cxnId="{574EAF41-53FF-4BA8-AD00-0F390BABD8CB}">
      <dgm:prSet/>
      <dgm:spPr/>
      <dgm:t>
        <a:bodyPr/>
        <a:lstStyle/>
        <a:p>
          <a:endParaRPr lang="en-SG" sz="1100">
            <a:latin typeface="Pru Sans Normal" panose="02000503000000020003" pitchFamily="2" charset="0"/>
          </a:endParaRPr>
        </a:p>
      </dgm:t>
    </dgm:pt>
    <dgm:pt modelId="{093CB683-66C8-4A18-8A17-CDDF8EA00450}">
      <dgm:prSet phldrT="[Text]" custT="1"/>
      <dgm:spPr/>
      <dgm:t>
        <a:bodyPr/>
        <a:lstStyle/>
        <a:p>
          <a:pPr marL="0" indent="0">
            <a:buNone/>
            <a:tabLst/>
          </a:pPr>
          <a:r>
            <a:rPr lang="en-US" sz="1600" dirty="0">
              <a:latin typeface="Pru Sans Normal" panose="02000503000000020003" pitchFamily="2" charset="0"/>
            </a:rPr>
            <a:t>As a life and health insurer, we are a long-term business.  </a:t>
          </a:r>
          <a:endParaRPr lang="en-SG" sz="1600" dirty="0">
            <a:latin typeface="Pru Sans Normal" panose="02000503000000020003" pitchFamily="2" charset="0"/>
          </a:endParaRPr>
        </a:p>
      </dgm:t>
    </dgm:pt>
    <dgm:pt modelId="{47C3C513-C4A3-4B8B-A109-DE2ADC6936D0}" type="parTrans" cxnId="{8E674280-44BA-4EA8-BE98-B9AC1EBF2472}">
      <dgm:prSet/>
      <dgm:spPr/>
      <dgm:t>
        <a:bodyPr/>
        <a:lstStyle/>
        <a:p>
          <a:endParaRPr lang="en-SG" sz="1100">
            <a:latin typeface="Pru Sans Normal" panose="02000503000000020003" pitchFamily="2" charset="0"/>
          </a:endParaRPr>
        </a:p>
      </dgm:t>
    </dgm:pt>
    <dgm:pt modelId="{E467F7D5-61E2-41BB-A8F8-765FB887E07A}" type="sibTrans" cxnId="{8E674280-44BA-4EA8-BE98-B9AC1EBF2472}">
      <dgm:prSet/>
      <dgm:spPr/>
      <dgm:t>
        <a:bodyPr/>
        <a:lstStyle/>
        <a:p>
          <a:endParaRPr lang="en-SG" sz="1100">
            <a:latin typeface="Pru Sans Normal" panose="02000503000000020003" pitchFamily="2" charset="0"/>
          </a:endParaRPr>
        </a:p>
      </dgm:t>
    </dgm:pt>
    <dgm:pt modelId="{BB96D4EF-688A-433F-B830-9D6238753892}">
      <dgm:prSet phldrT="[Text]" custT="1"/>
      <dgm:spPr/>
      <dgm:t>
        <a:bodyPr/>
        <a:lstStyle/>
        <a:p>
          <a:pPr marL="0" indent="0">
            <a:buNone/>
            <a:tabLst/>
          </a:pPr>
          <a:endParaRPr lang="en-SG" sz="1600" dirty="0">
            <a:latin typeface="Pru Sans Normal" panose="02000503000000020003" pitchFamily="2" charset="0"/>
          </a:endParaRPr>
        </a:p>
      </dgm:t>
    </dgm:pt>
    <dgm:pt modelId="{11D90D4F-A228-440B-B8D9-8A411EC08634}" type="parTrans" cxnId="{2525DA0F-E120-47A3-A59A-C4B57DDB054C}">
      <dgm:prSet/>
      <dgm:spPr/>
      <dgm:t>
        <a:bodyPr/>
        <a:lstStyle/>
        <a:p>
          <a:endParaRPr lang="en-US"/>
        </a:p>
      </dgm:t>
    </dgm:pt>
    <dgm:pt modelId="{04AD6375-D1E3-4E82-BFF8-ED1DC0F2BD96}" type="sibTrans" cxnId="{2525DA0F-E120-47A3-A59A-C4B57DDB054C}">
      <dgm:prSet/>
      <dgm:spPr/>
      <dgm:t>
        <a:bodyPr/>
        <a:lstStyle/>
        <a:p>
          <a:endParaRPr lang="en-US"/>
        </a:p>
      </dgm:t>
    </dgm:pt>
    <dgm:pt modelId="{A3A93A0F-D491-4029-99E3-C7C55495ED2F}">
      <dgm:prSet phldrT="[Text]" custT="1"/>
      <dgm:spPr/>
      <dgm:t>
        <a:bodyPr/>
        <a:lstStyle/>
        <a:p>
          <a:pPr marL="0" indent="0">
            <a:buNone/>
            <a:tabLst/>
          </a:pPr>
          <a:r>
            <a:rPr lang="en-US" sz="1600" dirty="0">
              <a:latin typeface="Pru Sans Normal" panose="02000503000000020003" pitchFamily="2" charset="0"/>
            </a:rPr>
            <a:t>The most severe physical climate risks manifest over the long term if not managed today  </a:t>
          </a:r>
          <a:endParaRPr lang="en-SG" sz="1600" dirty="0">
            <a:latin typeface="Pru Sans Normal" panose="02000503000000020003" pitchFamily="2" charset="0"/>
          </a:endParaRPr>
        </a:p>
      </dgm:t>
    </dgm:pt>
    <dgm:pt modelId="{5890E17D-7D9B-4AA1-8909-24F8C96B547C}" type="parTrans" cxnId="{DCFDC797-33EF-4F4A-ADD6-0E45CE081343}">
      <dgm:prSet/>
      <dgm:spPr/>
    </dgm:pt>
    <dgm:pt modelId="{B21088CD-4060-4C67-9CFB-9A4096004E28}" type="sibTrans" cxnId="{DCFDC797-33EF-4F4A-ADD6-0E45CE081343}">
      <dgm:prSet/>
      <dgm:spPr/>
    </dgm:pt>
    <dgm:pt modelId="{95F7933B-3E89-4D2E-B2AE-63BA3CC01D93}">
      <dgm:prSet phldrT="[Text]" custT="1"/>
      <dgm:spPr/>
      <dgm:t>
        <a:bodyPr/>
        <a:lstStyle/>
        <a:p>
          <a:pPr marL="0" indent="0">
            <a:buNone/>
            <a:tabLst/>
          </a:pPr>
          <a:endParaRPr lang="en-SG" sz="1600" dirty="0">
            <a:latin typeface="Pru Sans Normal" panose="02000503000000020003" pitchFamily="2" charset="0"/>
          </a:endParaRPr>
        </a:p>
      </dgm:t>
    </dgm:pt>
    <dgm:pt modelId="{BD4070C7-84CC-4693-A6E0-B55023C74FCE}" type="parTrans" cxnId="{CAC32F2D-BC57-4D10-AD33-360F4DE18CAF}">
      <dgm:prSet/>
      <dgm:spPr/>
    </dgm:pt>
    <dgm:pt modelId="{14EED571-2B99-48BA-8326-610DF577F3B1}" type="sibTrans" cxnId="{CAC32F2D-BC57-4D10-AD33-360F4DE18CAF}">
      <dgm:prSet/>
      <dgm:spPr/>
    </dgm:pt>
    <dgm:pt modelId="{387EEC73-E1C7-47FE-8D34-E41EBF01DC9A}" type="pres">
      <dgm:prSet presAssocID="{EA71B287-52A8-409E-B51D-B54686E9EA36}" presName="linear" presStyleCnt="0">
        <dgm:presLayoutVars>
          <dgm:animLvl val="lvl"/>
          <dgm:resizeHandles val="exact"/>
        </dgm:presLayoutVars>
      </dgm:prSet>
      <dgm:spPr/>
    </dgm:pt>
    <dgm:pt modelId="{374BE912-304F-48B2-9613-9FB3C4D78A99}" type="pres">
      <dgm:prSet presAssocID="{85C66A9C-2645-4D6D-8160-E22DB61B95C3}" presName="parentText" presStyleLbl="node1" presStyleIdx="0" presStyleCnt="1" custScaleY="62737">
        <dgm:presLayoutVars>
          <dgm:chMax val="0"/>
          <dgm:bulletEnabled val="1"/>
        </dgm:presLayoutVars>
      </dgm:prSet>
      <dgm:spPr/>
    </dgm:pt>
    <dgm:pt modelId="{40EF195E-675A-478C-912B-536C75274FA5}" type="pres">
      <dgm:prSet presAssocID="{85C66A9C-2645-4D6D-8160-E22DB61B95C3}" presName="childText" presStyleLbl="revTx" presStyleIdx="0" presStyleCnt="1">
        <dgm:presLayoutVars>
          <dgm:bulletEnabled val="1"/>
        </dgm:presLayoutVars>
      </dgm:prSet>
      <dgm:spPr/>
    </dgm:pt>
  </dgm:ptLst>
  <dgm:cxnLst>
    <dgm:cxn modelId="{6F2F9608-8FB0-4144-B2E0-17E1FC499785}" type="presOf" srcId="{093CB683-66C8-4A18-8A17-CDDF8EA00450}" destId="{40EF195E-675A-478C-912B-536C75274FA5}" srcOrd="0" destOrd="1" presId="urn:microsoft.com/office/officeart/2005/8/layout/vList2"/>
    <dgm:cxn modelId="{2525DA0F-E120-47A3-A59A-C4B57DDB054C}" srcId="{85C66A9C-2645-4D6D-8160-E22DB61B95C3}" destId="{BB96D4EF-688A-433F-B830-9D6238753892}" srcOrd="0" destOrd="0" parTransId="{11D90D4F-A228-440B-B8D9-8A411EC08634}" sibTransId="{04AD6375-D1E3-4E82-BFF8-ED1DC0F2BD96}"/>
    <dgm:cxn modelId="{D55B031A-10F4-4572-85E0-A3E5042D1EDF}" type="presOf" srcId="{95F7933B-3E89-4D2E-B2AE-63BA3CC01D93}" destId="{40EF195E-675A-478C-912B-536C75274FA5}" srcOrd="0" destOrd="2" presId="urn:microsoft.com/office/officeart/2005/8/layout/vList2"/>
    <dgm:cxn modelId="{CAC32F2D-BC57-4D10-AD33-360F4DE18CAF}" srcId="{85C66A9C-2645-4D6D-8160-E22DB61B95C3}" destId="{95F7933B-3E89-4D2E-B2AE-63BA3CC01D93}" srcOrd="2" destOrd="0" parTransId="{BD4070C7-84CC-4693-A6E0-B55023C74FCE}" sibTransId="{14EED571-2B99-48BA-8326-610DF577F3B1}"/>
    <dgm:cxn modelId="{574EAF41-53FF-4BA8-AD00-0F390BABD8CB}" srcId="{EA71B287-52A8-409E-B51D-B54686E9EA36}" destId="{85C66A9C-2645-4D6D-8160-E22DB61B95C3}" srcOrd="0" destOrd="0" parTransId="{58EA2243-40C7-4F02-A74D-87DA4AA3D5AA}" sibTransId="{3559CF8D-3914-4279-A127-B098B083F42A}"/>
    <dgm:cxn modelId="{94E91954-57C0-4491-B63B-5529047192F8}" type="presOf" srcId="{EA71B287-52A8-409E-B51D-B54686E9EA36}" destId="{387EEC73-E1C7-47FE-8D34-E41EBF01DC9A}" srcOrd="0" destOrd="0" presId="urn:microsoft.com/office/officeart/2005/8/layout/vList2"/>
    <dgm:cxn modelId="{8E674280-44BA-4EA8-BE98-B9AC1EBF2472}" srcId="{85C66A9C-2645-4D6D-8160-E22DB61B95C3}" destId="{093CB683-66C8-4A18-8A17-CDDF8EA00450}" srcOrd="1" destOrd="0" parTransId="{47C3C513-C4A3-4B8B-A109-DE2ADC6936D0}" sibTransId="{E467F7D5-61E2-41BB-A8F8-765FB887E07A}"/>
    <dgm:cxn modelId="{AFE74B89-CB60-4E37-ADF3-16495A4BACD3}" type="presOf" srcId="{85C66A9C-2645-4D6D-8160-E22DB61B95C3}" destId="{374BE912-304F-48B2-9613-9FB3C4D78A99}" srcOrd="0" destOrd="0" presId="urn:microsoft.com/office/officeart/2005/8/layout/vList2"/>
    <dgm:cxn modelId="{DCFDC797-33EF-4F4A-ADD6-0E45CE081343}" srcId="{85C66A9C-2645-4D6D-8160-E22DB61B95C3}" destId="{A3A93A0F-D491-4029-99E3-C7C55495ED2F}" srcOrd="3" destOrd="0" parTransId="{5890E17D-7D9B-4AA1-8909-24F8C96B547C}" sibTransId="{B21088CD-4060-4C67-9CFB-9A4096004E28}"/>
    <dgm:cxn modelId="{2EE11FA3-A1C1-4711-9DEE-FB226A5FBAEE}" type="presOf" srcId="{A3A93A0F-D491-4029-99E3-C7C55495ED2F}" destId="{40EF195E-675A-478C-912B-536C75274FA5}" srcOrd="0" destOrd="3" presId="urn:microsoft.com/office/officeart/2005/8/layout/vList2"/>
    <dgm:cxn modelId="{DEDAC7A4-A5F9-4AB6-A4BC-19948E39049C}" type="presOf" srcId="{BB96D4EF-688A-433F-B830-9D6238753892}" destId="{40EF195E-675A-478C-912B-536C75274FA5}" srcOrd="0" destOrd="0" presId="urn:microsoft.com/office/officeart/2005/8/layout/vList2"/>
    <dgm:cxn modelId="{CDDC4C3A-6821-45BF-8D92-9B7728CEBEBD}" type="presParOf" srcId="{387EEC73-E1C7-47FE-8D34-E41EBF01DC9A}" destId="{374BE912-304F-48B2-9613-9FB3C4D78A99}" srcOrd="0" destOrd="0" presId="urn:microsoft.com/office/officeart/2005/8/layout/vList2"/>
    <dgm:cxn modelId="{C6C05202-86E8-4726-B0CE-A1861C8B282F}" type="presParOf" srcId="{387EEC73-E1C7-47FE-8D34-E41EBF01DC9A}" destId="{40EF195E-675A-478C-912B-536C75274FA5}"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A71B287-52A8-409E-B51D-B54686E9EA3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SG"/>
        </a:p>
      </dgm:t>
    </dgm:pt>
    <dgm:pt modelId="{83E4F252-5EF8-4500-B3E0-E50C11C31533}">
      <dgm:prSet phldrT="[Text]" custT="1"/>
      <dgm:spPr/>
      <dgm:t>
        <a:bodyPr/>
        <a:lstStyle/>
        <a:p>
          <a:r>
            <a:rPr lang="en-US" sz="1600" b="1" i="1" dirty="0">
              <a:latin typeface="Pru Sans Normal" panose="02000503000000020003" pitchFamily="2" charset="0"/>
            </a:rPr>
            <a:t>“Prudential plc provides life and health insurance and asset management to 18 million customers across 24 markets in Asia and Africa”</a:t>
          </a:r>
          <a:endParaRPr lang="en-SG" sz="1600" i="1" dirty="0">
            <a:latin typeface="Pru Sans Normal" panose="02000503000000020003" pitchFamily="2" charset="0"/>
          </a:endParaRPr>
        </a:p>
      </dgm:t>
    </dgm:pt>
    <dgm:pt modelId="{457AB967-DC59-48D1-95C7-870EB85FB8A3}" type="parTrans" cxnId="{7C365DB0-C60E-4547-9AAD-0C12B7895ABA}">
      <dgm:prSet/>
      <dgm:spPr/>
      <dgm:t>
        <a:bodyPr/>
        <a:lstStyle/>
        <a:p>
          <a:endParaRPr lang="en-SG" sz="1100">
            <a:latin typeface="Pru Sans Normal" panose="02000503000000020003" pitchFamily="2" charset="0"/>
          </a:endParaRPr>
        </a:p>
      </dgm:t>
    </dgm:pt>
    <dgm:pt modelId="{204338FE-CB55-4939-9B6A-331A8DBBFE91}" type="sibTrans" cxnId="{7C365DB0-C60E-4547-9AAD-0C12B7895ABA}">
      <dgm:prSet/>
      <dgm:spPr/>
      <dgm:t>
        <a:bodyPr/>
        <a:lstStyle/>
        <a:p>
          <a:endParaRPr lang="en-SG" sz="1100">
            <a:latin typeface="Pru Sans Normal" panose="02000503000000020003" pitchFamily="2" charset="0"/>
          </a:endParaRPr>
        </a:p>
      </dgm:t>
    </dgm:pt>
    <dgm:pt modelId="{4B481E47-26BB-4835-A42F-0267462F880E}">
      <dgm:prSet phldrT="[Text]" custT="1"/>
      <dgm:spPr/>
      <dgm:t>
        <a:bodyPr/>
        <a:lstStyle/>
        <a:p>
          <a:pPr marL="0" indent="0">
            <a:buNone/>
          </a:pPr>
          <a:r>
            <a:rPr lang="en-US" sz="1600" dirty="0">
              <a:latin typeface="Pru Sans Normal" panose="02000503000000020003" pitchFamily="2" charset="0"/>
            </a:rPr>
            <a:t>Climate risk disproportionately affects developing and emerging markets, which are more vulnerable because they are least prepared to cope with changes in global markets and physical climate impacts</a:t>
          </a:r>
          <a:endParaRPr lang="en-SG" sz="1600" dirty="0">
            <a:latin typeface="Pru Sans Normal" panose="02000503000000020003" pitchFamily="2" charset="0"/>
          </a:endParaRPr>
        </a:p>
      </dgm:t>
    </dgm:pt>
    <dgm:pt modelId="{2E391C81-8142-4EB7-A037-586B6EDD65D9}" type="parTrans" cxnId="{43E44F6B-10B8-4C8B-BF7B-372D316EED02}">
      <dgm:prSet/>
      <dgm:spPr/>
      <dgm:t>
        <a:bodyPr/>
        <a:lstStyle/>
        <a:p>
          <a:endParaRPr lang="en-SG" sz="1100">
            <a:latin typeface="Pru Sans Normal" panose="02000503000000020003" pitchFamily="2" charset="0"/>
          </a:endParaRPr>
        </a:p>
      </dgm:t>
    </dgm:pt>
    <dgm:pt modelId="{11B04AD6-606A-45DD-8CC1-3FCE6CCA9347}" type="sibTrans" cxnId="{43E44F6B-10B8-4C8B-BF7B-372D316EED02}">
      <dgm:prSet/>
      <dgm:spPr/>
      <dgm:t>
        <a:bodyPr/>
        <a:lstStyle/>
        <a:p>
          <a:endParaRPr lang="en-SG" sz="1100">
            <a:latin typeface="Pru Sans Normal" panose="02000503000000020003" pitchFamily="2" charset="0"/>
          </a:endParaRPr>
        </a:p>
      </dgm:t>
    </dgm:pt>
    <dgm:pt modelId="{B54AE863-BE10-4F92-BDD1-8E7E4888CA62}">
      <dgm:prSet phldrT="[Text]" custT="1"/>
      <dgm:spPr/>
      <dgm:t>
        <a:bodyPr/>
        <a:lstStyle/>
        <a:p>
          <a:pPr marL="0" indent="0">
            <a:buNone/>
          </a:pPr>
          <a:endParaRPr lang="en-SG" sz="1600" dirty="0">
            <a:latin typeface="Pru Sans Normal" panose="02000503000000020003" pitchFamily="2" charset="0"/>
          </a:endParaRPr>
        </a:p>
      </dgm:t>
    </dgm:pt>
    <dgm:pt modelId="{9DCEED88-58AD-4B66-BD61-6A8E791CD972}" type="parTrans" cxnId="{642A8CC3-595B-4285-AB4C-1F433F2E20A9}">
      <dgm:prSet/>
      <dgm:spPr/>
      <dgm:t>
        <a:bodyPr/>
        <a:lstStyle/>
        <a:p>
          <a:endParaRPr lang="en-US"/>
        </a:p>
      </dgm:t>
    </dgm:pt>
    <dgm:pt modelId="{F8B2110E-F0B8-434B-BA57-016CE08435E3}" type="sibTrans" cxnId="{642A8CC3-595B-4285-AB4C-1F433F2E20A9}">
      <dgm:prSet/>
      <dgm:spPr/>
      <dgm:t>
        <a:bodyPr/>
        <a:lstStyle/>
        <a:p>
          <a:endParaRPr lang="en-US"/>
        </a:p>
      </dgm:t>
    </dgm:pt>
    <dgm:pt modelId="{387EEC73-E1C7-47FE-8D34-E41EBF01DC9A}" type="pres">
      <dgm:prSet presAssocID="{EA71B287-52A8-409E-B51D-B54686E9EA36}" presName="linear" presStyleCnt="0">
        <dgm:presLayoutVars>
          <dgm:animLvl val="lvl"/>
          <dgm:resizeHandles val="exact"/>
        </dgm:presLayoutVars>
      </dgm:prSet>
      <dgm:spPr/>
    </dgm:pt>
    <dgm:pt modelId="{5C81DA74-DB3E-4CC7-8538-2DB4984FC6E3}" type="pres">
      <dgm:prSet presAssocID="{83E4F252-5EF8-4500-B3E0-E50C11C31533}" presName="parentText" presStyleLbl="node1" presStyleIdx="0" presStyleCnt="1" custLinFactNeighborX="-1354" custLinFactNeighborY="2168">
        <dgm:presLayoutVars>
          <dgm:chMax val="0"/>
          <dgm:bulletEnabled val="1"/>
        </dgm:presLayoutVars>
      </dgm:prSet>
      <dgm:spPr/>
    </dgm:pt>
    <dgm:pt modelId="{015817F0-762B-466D-8D1B-53FE11F99DBA}" type="pres">
      <dgm:prSet presAssocID="{83E4F252-5EF8-4500-B3E0-E50C11C31533}" presName="childText" presStyleLbl="revTx" presStyleIdx="0" presStyleCnt="1">
        <dgm:presLayoutVars>
          <dgm:bulletEnabled val="1"/>
        </dgm:presLayoutVars>
      </dgm:prSet>
      <dgm:spPr/>
    </dgm:pt>
  </dgm:ptLst>
  <dgm:cxnLst>
    <dgm:cxn modelId="{76E96E24-0D3C-41AB-9B12-7F5F4A22FBBA}" type="presOf" srcId="{4B481E47-26BB-4835-A42F-0267462F880E}" destId="{015817F0-762B-466D-8D1B-53FE11F99DBA}" srcOrd="0" destOrd="1" presId="urn:microsoft.com/office/officeart/2005/8/layout/vList2"/>
    <dgm:cxn modelId="{43E44F6B-10B8-4C8B-BF7B-372D316EED02}" srcId="{83E4F252-5EF8-4500-B3E0-E50C11C31533}" destId="{4B481E47-26BB-4835-A42F-0267462F880E}" srcOrd="1" destOrd="0" parTransId="{2E391C81-8142-4EB7-A037-586B6EDD65D9}" sibTransId="{11B04AD6-606A-45DD-8CC1-3FCE6CCA9347}"/>
    <dgm:cxn modelId="{94E91954-57C0-4491-B63B-5529047192F8}" type="presOf" srcId="{EA71B287-52A8-409E-B51D-B54686E9EA36}" destId="{387EEC73-E1C7-47FE-8D34-E41EBF01DC9A}" srcOrd="0" destOrd="0" presId="urn:microsoft.com/office/officeart/2005/8/layout/vList2"/>
    <dgm:cxn modelId="{1F1CC2AC-4A67-4EE4-B5AD-23A25C4205D8}" type="presOf" srcId="{B54AE863-BE10-4F92-BDD1-8E7E4888CA62}" destId="{015817F0-762B-466D-8D1B-53FE11F99DBA}" srcOrd="0" destOrd="0" presId="urn:microsoft.com/office/officeart/2005/8/layout/vList2"/>
    <dgm:cxn modelId="{7C365DB0-C60E-4547-9AAD-0C12B7895ABA}" srcId="{EA71B287-52A8-409E-B51D-B54686E9EA36}" destId="{83E4F252-5EF8-4500-B3E0-E50C11C31533}" srcOrd="0" destOrd="0" parTransId="{457AB967-DC59-48D1-95C7-870EB85FB8A3}" sibTransId="{204338FE-CB55-4939-9B6A-331A8DBBFE91}"/>
    <dgm:cxn modelId="{474E25B5-FD10-4548-BD97-9563E2850727}" type="presOf" srcId="{83E4F252-5EF8-4500-B3E0-E50C11C31533}" destId="{5C81DA74-DB3E-4CC7-8538-2DB4984FC6E3}" srcOrd="0" destOrd="0" presId="urn:microsoft.com/office/officeart/2005/8/layout/vList2"/>
    <dgm:cxn modelId="{642A8CC3-595B-4285-AB4C-1F433F2E20A9}" srcId="{83E4F252-5EF8-4500-B3E0-E50C11C31533}" destId="{B54AE863-BE10-4F92-BDD1-8E7E4888CA62}" srcOrd="0" destOrd="0" parTransId="{9DCEED88-58AD-4B66-BD61-6A8E791CD972}" sibTransId="{F8B2110E-F0B8-434B-BA57-016CE08435E3}"/>
    <dgm:cxn modelId="{F2306A3E-0F6A-4D2E-8382-91D58713E3C5}" type="presParOf" srcId="{387EEC73-E1C7-47FE-8D34-E41EBF01DC9A}" destId="{5C81DA74-DB3E-4CC7-8538-2DB4984FC6E3}" srcOrd="0" destOrd="0" presId="urn:microsoft.com/office/officeart/2005/8/layout/vList2"/>
    <dgm:cxn modelId="{8BCEF4FD-E99A-4580-84C3-E99DAF573532}" type="presParOf" srcId="{387EEC73-E1C7-47FE-8D34-E41EBF01DC9A}" destId="{015817F0-762B-466D-8D1B-53FE11F99DBA}" srcOrd="1"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4BE912-304F-48B2-9613-9FB3C4D78A99}">
      <dsp:nvSpPr>
        <dsp:cNvPr id="0" name=""/>
        <dsp:cNvSpPr/>
      </dsp:nvSpPr>
      <dsp:spPr>
        <a:xfrm>
          <a:off x="0" y="204325"/>
          <a:ext cx="4045674" cy="75163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i="1" kern="1200" dirty="0">
              <a:latin typeface="Pru Sans Normal" panose="02000503000000020003" pitchFamily="2" charset="0"/>
            </a:rPr>
            <a:t>“We are Prudential.	</a:t>
          </a:r>
        </a:p>
        <a:p>
          <a:pPr marL="0" lvl="0" indent="0" algn="l" defTabSz="889000">
            <a:lnSpc>
              <a:spcPct val="90000"/>
            </a:lnSpc>
            <a:spcBef>
              <a:spcPct val="0"/>
            </a:spcBef>
            <a:spcAft>
              <a:spcPct val="35000"/>
            </a:spcAft>
            <a:buNone/>
          </a:pPr>
          <a:r>
            <a:rPr lang="en-US" sz="2000" b="1" i="1" kern="1200" dirty="0">
              <a:latin typeface="Pru Sans Normal" panose="02000503000000020003" pitchFamily="2" charset="0"/>
            </a:rPr>
            <a:t>For Every Life, For Every Future.”</a:t>
          </a:r>
          <a:endParaRPr lang="en-SG" sz="2000" i="1" kern="1200" dirty="0">
            <a:latin typeface="Pru Sans Normal" panose="02000503000000020003" pitchFamily="2" charset="0"/>
          </a:endParaRPr>
        </a:p>
      </dsp:txBody>
      <dsp:txXfrm>
        <a:off x="36692" y="241017"/>
        <a:ext cx="3972290" cy="678255"/>
      </dsp:txXfrm>
    </dsp:sp>
    <dsp:sp modelId="{40EF195E-675A-478C-912B-536C75274FA5}">
      <dsp:nvSpPr>
        <dsp:cNvPr id="0" name=""/>
        <dsp:cNvSpPr/>
      </dsp:nvSpPr>
      <dsp:spPr>
        <a:xfrm>
          <a:off x="0" y="955965"/>
          <a:ext cx="4045674" cy="1424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450" tIns="20320" rIns="113792" bIns="20320" numCol="1" spcCol="1270" anchor="t" anchorCtr="0">
          <a:noAutofit/>
        </a:bodyPr>
        <a:lstStyle/>
        <a:p>
          <a:pPr marL="0" lvl="1" indent="0" algn="l" defTabSz="711200">
            <a:lnSpc>
              <a:spcPct val="90000"/>
            </a:lnSpc>
            <a:spcBef>
              <a:spcPct val="0"/>
            </a:spcBef>
            <a:spcAft>
              <a:spcPct val="20000"/>
            </a:spcAft>
            <a:buNone/>
            <a:tabLst/>
          </a:pPr>
          <a:endParaRPr lang="en-SG" sz="1600" kern="1200" dirty="0">
            <a:latin typeface="Pru Sans Normal" panose="02000503000000020003" pitchFamily="2" charset="0"/>
          </a:endParaRPr>
        </a:p>
        <a:p>
          <a:pPr marL="0" lvl="1" indent="0" algn="l" defTabSz="711200">
            <a:lnSpc>
              <a:spcPct val="90000"/>
            </a:lnSpc>
            <a:spcBef>
              <a:spcPct val="0"/>
            </a:spcBef>
            <a:spcAft>
              <a:spcPct val="20000"/>
            </a:spcAft>
            <a:buNone/>
            <a:tabLst/>
          </a:pPr>
          <a:r>
            <a:rPr lang="en-US" sz="1600" kern="1200" dirty="0">
              <a:latin typeface="Pru Sans Normal" panose="02000503000000020003" pitchFamily="2" charset="0"/>
            </a:rPr>
            <a:t>As a life and health insurer, we are a long-term business.  </a:t>
          </a:r>
          <a:endParaRPr lang="en-SG" sz="1600" kern="1200" dirty="0">
            <a:latin typeface="Pru Sans Normal" panose="02000503000000020003" pitchFamily="2" charset="0"/>
          </a:endParaRPr>
        </a:p>
        <a:p>
          <a:pPr marL="0" lvl="1" indent="0" algn="l" defTabSz="711200">
            <a:lnSpc>
              <a:spcPct val="90000"/>
            </a:lnSpc>
            <a:spcBef>
              <a:spcPct val="0"/>
            </a:spcBef>
            <a:spcAft>
              <a:spcPct val="20000"/>
            </a:spcAft>
            <a:buNone/>
            <a:tabLst/>
          </a:pPr>
          <a:endParaRPr lang="en-SG" sz="1600" kern="1200" dirty="0">
            <a:latin typeface="Pru Sans Normal" panose="02000503000000020003" pitchFamily="2" charset="0"/>
          </a:endParaRPr>
        </a:p>
        <a:p>
          <a:pPr marL="0" lvl="1" indent="0" algn="l" defTabSz="711200">
            <a:lnSpc>
              <a:spcPct val="90000"/>
            </a:lnSpc>
            <a:spcBef>
              <a:spcPct val="0"/>
            </a:spcBef>
            <a:spcAft>
              <a:spcPct val="20000"/>
            </a:spcAft>
            <a:buNone/>
            <a:tabLst/>
          </a:pPr>
          <a:r>
            <a:rPr lang="en-US" sz="1600" kern="1200" dirty="0">
              <a:latin typeface="Pru Sans Normal" panose="02000503000000020003" pitchFamily="2" charset="0"/>
            </a:rPr>
            <a:t>The most severe physical climate risks manifest over the long term if not managed today  </a:t>
          </a:r>
          <a:endParaRPr lang="en-SG" sz="1600" kern="1200" dirty="0">
            <a:latin typeface="Pru Sans Normal" panose="02000503000000020003" pitchFamily="2" charset="0"/>
          </a:endParaRPr>
        </a:p>
      </dsp:txBody>
      <dsp:txXfrm>
        <a:off x="0" y="955965"/>
        <a:ext cx="4045674" cy="14241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81DA74-DB3E-4CC7-8538-2DB4984FC6E3}">
      <dsp:nvSpPr>
        <dsp:cNvPr id="0" name=""/>
        <dsp:cNvSpPr/>
      </dsp:nvSpPr>
      <dsp:spPr>
        <a:xfrm>
          <a:off x="0" y="77835"/>
          <a:ext cx="4438938" cy="1216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i="1" kern="1200" dirty="0">
              <a:latin typeface="Pru Sans Normal" panose="02000503000000020003" pitchFamily="2" charset="0"/>
            </a:rPr>
            <a:t>“Prudential plc provides life and health insurance and asset management to 18 million customers across 24 markets in Asia and Africa”</a:t>
          </a:r>
          <a:endParaRPr lang="en-SG" sz="1600" i="1" kern="1200" dirty="0">
            <a:latin typeface="Pru Sans Normal" panose="02000503000000020003" pitchFamily="2" charset="0"/>
          </a:endParaRPr>
        </a:p>
      </dsp:txBody>
      <dsp:txXfrm>
        <a:off x="59399" y="137234"/>
        <a:ext cx="4320140" cy="1098002"/>
      </dsp:txXfrm>
    </dsp:sp>
    <dsp:sp modelId="{015817F0-762B-466D-8D1B-53FE11F99DBA}">
      <dsp:nvSpPr>
        <dsp:cNvPr id="0" name=""/>
        <dsp:cNvSpPr/>
      </dsp:nvSpPr>
      <dsp:spPr>
        <a:xfrm>
          <a:off x="0" y="1265465"/>
          <a:ext cx="4438938" cy="13455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936" tIns="20320" rIns="113792" bIns="20320" numCol="1" spcCol="1270" anchor="t" anchorCtr="0">
          <a:noAutofit/>
        </a:bodyPr>
        <a:lstStyle/>
        <a:p>
          <a:pPr marL="0" lvl="1" indent="0" algn="l" defTabSz="711200">
            <a:lnSpc>
              <a:spcPct val="90000"/>
            </a:lnSpc>
            <a:spcBef>
              <a:spcPct val="0"/>
            </a:spcBef>
            <a:spcAft>
              <a:spcPct val="20000"/>
            </a:spcAft>
            <a:buNone/>
          </a:pPr>
          <a:endParaRPr lang="en-SG" sz="1600" kern="1200" dirty="0">
            <a:latin typeface="Pru Sans Normal" panose="02000503000000020003" pitchFamily="2" charset="0"/>
          </a:endParaRPr>
        </a:p>
        <a:p>
          <a:pPr marL="0" lvl="1" indent="0" algn="l" defTabSz="711200">
            <a:lnSpc>
              <a:spcPct val="90000"/>
            </a:lnSpc>
            <a:spcBef>
              <a:spcPct val="0"/>
            </a:spcBef>
            <a:spcAft>
              <a:spcPct val="20000"/>
            </a:spcAft>
            <a:buNone/>
          </a:pPr>
          <a:r>
            <a:rPr lang="en-US" sz="1600" kern="1200" dirty="0">
              <a:latin typeface="Pru Sans Normal" panose="02000503000000020003" pitchFamily="2" charset="0"/>
            </a:rPr>
            <a:t>Climate risk disproportionately affects developing and emerging markets, which are more vulnerable because they are least prepared to cope with changes in global markets and physical climate impacts</a:t>
          </a:r>
          <a:endParaRPr lang="en-SG" sz="1600" kern="1200" dirty="0">
            <a:latin typeface="Pru Sans Normal" panose="02000503000000020003" pitchFamily="2" charset="0"/>
          </a:endParaRPr>
        </a:p>
      </dsp:txBody>
      <dsp:txXfrm>
        <a:off x="0" y="1265465"/>
        <a:ext cx="4438938" cy="134550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AE72A6A-0F23-40E5-908C-C2FC1A24B9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5B423A94-E87D-4949-B11B-37E9EAB43C4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9F51ED-F007-4DA9-B639-AD09B4AEDA28}" type="datetimeFigureOut">
              <a:rPr lang="en-GB" smtClean="0"/>
              <a:t>28/05/2024</a:t>
            </a:fld>
            <a:endParaRPr lang="en-GB"/>
          </a:p>
        </p:txBody>
      </p:sp>
      <p:sp>
        <p:nvSpPr>
          <p:cNvPr id="4" name="Footer Placeholder 3">
            <a:extLst>
              <a:ext uri="{FF2B5EF4-FFF2-40B4-BE49-F238E27FC236}">
                <a16:creationId xmlns:a16="http://schemas.microsoft.com/office/drawing/2014/main" id="{DA76408C-7BB5-49F6-BC98-5D9338FF05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C5075BD2-950F-42BA-982F-3B34747F869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74322ED-D04E-4F18-BFA2-C66FEDE015B1}" type="slidenum">
              <a:rPr lang="en-GB" smtClean="0"/>
              <a:t>‹#›</a:t>
            </a:fld>
            <a:endParaRPr lang="en-GB"/>
          </a:p>
        </p:txBody>
      </p:sp>
    </p:spTree>
    <p:extLst>
      <p:ext uri="{BB962C8B-B14F-4D97-AF65-F5344CB8AC3E}">
        <p14:creationId xmlns:p14="http://schemas.microsoft.com/office/powerpoint/2010/main" val="36764252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A99CD8-16BA-4019-9B6B-D232F3FB7790}" type="datetimeFigureOut">
              <a:rPr lang="en-GB" smtClean="0"/>
              <a:t>28/05/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7BE469-4EEC-4862-A5E1-28ECEC75725C}" type="slidenum">
              <a:rPr lang="en-GB" smtClean="0"/>
              <a:t>‹#›</a:t>
            </a:fld>
            <a:endParaRPr lang="en-GB"/>
          </a:p>
        </p:txBody>
      </p:sp>
    </p:spTree>
    <p:extLst>
      <p:ext uri="{BB962C8B-B14F-4D97-AF65-F5344CB8AC3E}">
        <p14:creationId xmlns:p14="http://schemas.microsoft.com/office/powerpoint/2010/main" val="3126978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eliant on emerging body of research into impacts of heat, humidity, pollution, diseases, food and water shortages, geopolitical</a:t>
            </a:r>
          </a:p>
          <a:p>
            <a:endParaRPr lang="en-US" dirty="0"/>
          </a:p>
        </p:txBody>
      </p:sp>
      <p:sp>
        <p:nvSpPr>
          <p:cNvPr id="4" name="Slide Number Placeholder 3"/>
          <p:cNvSpPr>
            <a:spLocks noGrp="1"/>
          </p:cNvSpPr>
          <p:nvPr>
            <p:ph type="sldNum" sz="quarter" idx="5"/>
          </p:nvPr>
        </p:nvSpPr>
        <p:spPr/>
        <p:txBody>
          <a:bodyPr/>
          <a:lstStyle/>
          <a:p>
            <a:fld id="{A87BE469-4EEC-4862-A5E1-28ECEC75725C}" type="slidenum">
              <a:rPr lang="en-GB" smtClean="0"/>
              <a:t>8</a:t>
            </a:fld>
            <a:endParaRPr lang="en-GB"/>
          </a:p>
        </p:txBody>
      </p:sp>
    </p:spTree>
    <p:extLst>
      <p:ext uri="{BB962C8B-B14F-4D97-AF65-F5344CB8AC3E}">
        <p14:creationId xmlns:p14="http://schemas.microsoft.com/office/powerpoint/2010/main" val="21810810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pic>
        <p:nvPicPr>
          <p:cNvPr id="11" name="Picture 3"/>
          <p:cNvPicPr>
            <a:picLocks noChangeAspect="1" noChangeArrowheads="1"/>
          </p:cNvPicPr>
          <p:nvPr userDrawn="1"/>
        </p:nvPicPr>
        <p:blipFill>
          <a:blip r:embed="rId2"/>
          <a:srcRect l="12501" t="29888" r="21959"/>
          <a:stretch>
            <a:fillRect/>
          </a:stretch>
        </p:blipFill>
        <p:spPr bwMode="auto">
          <a:xfrm>
            <a:off x="0" y="0"/>
            <a:ext cx="9144001" cy="3562952"/>
          </a:xfrm>
          <a:prstGeom prst="rect">
            <a:avLst/>
          </a:prstGeom>
          <a:noFill/>
          <a:ln w="9525">
            <a:noFill/>
            <a:miter lim="800000"/>
            <a:headEnd/>
            <a:tailEnd/>
          </a:ln>
          <a:effectLst/>
        </p:spPr>
      </p:pic>
      <p:sp>
        <p:nvSpPr>
          <p:cNvPr id="3" name="Text Placeholder 2"/>
          <p:cNvSpPr>
            <a:spLocks noGrp="1"/>
          </p:cNvSpPr>
          <p:nvPr>
            <p:ph type="body" idx="1" hasCustomPrompt="1"/>
          </p:nvPr>
        </p:nvSpPr>
        <p:spPr>
          <a:xfrm>
            <a:off x="685800" y="4579620"/>
            <a:ext cx="363306" cy="159018"/>
          </a:xfrm>
          <a:prstGeom prst="rect">
            <a:avLst/>
          </a:prstGeom>
        </p:spPr>
        <p:txBody>
          <a:bodyPr wrap="none" lIns="0" tIns="0" rIns="0" bIns="0" anchor="t" anchorCtr="0">
            <a:spAutoFit/>
          </a:bodyPr>
          <a:lstStyle>
            <a:lvl1pPr marL="0" indent="0">
              <a:lnSpc>
                <a:spcPts val="1200"/>
              </a:lnSpc>
              <a:spcBef>
                <a:spcPts val="0"/>
              </a:spcBef>
              <a:buNone/>
              <a:defRPr sz="12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Date</a:t>
            </a:r>
          </a:p>
        </p:txBody>
      </p:sp>
      <p:sp>
        <p:nvSpPr>
          <p:cNvPr id="14" name="Text Placeholder 2"/>
          <p:cNvSpPr>
            <a:spLocks noGrp="1"/>
          </p:cNvSpPr>
          <p:nvPr>
            <p:ph type="body" idx="11" hasCustomPrompt="1"/>
          </p:nvPr>
        </p:nvSpPr>
        <p:spPr>
          <a:xfrm>
            <a:off x="2243409" y="4579620"/>
            <a:ext cx="924231" cy="159018"/>
          </a:xfrm>
          <a:prstGeom prst="rect">
            <a:avLst/>
          </a:prstGeom>
        </p:spPr>
        <p:txBody>
          <a:bodyPr wrap="none" lIns="0" tIns="0" rIns="0" bIns="0" anchor="t" anchorCtr="0">
            <a:spAutoFit/>
          </a:bodyPr>
          <a:lstStyle>
            <a:lvl1pPr marL="0" indent="0">
              <a:lnSpc>
                <a:spcPts val="1200"/>
              </a:lnSpc>
              <a:spcBef>
                <a:spcPts val="0"/>
              </a:spcBef>
              <a:buNone/>
              <a:defRPr sz="12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Department</a:t>
            </a:r>
          </a:p>
        </p:txBody>
      </p:sp>
      <p:sp>
        <p:nvSpPr>
          <p:cNvPr id="9" name="TextBox 8"/>
          <p:cNvSpPr txBox="1"/>
          <p:nvPr/>
        </p:nvSpPr>
        <p:spPr>
          <a:xfrm>
            <a:off x="8134350" y="4908550"/>
            <a:ext cx="914400" cy="914400"/>
          </a:xfrm>
          <a:prstGeom prst="rect">
            <a:avLst/>
          </a:prstGeom>
        </p:spPr>
        <p:txBody>
          <a:bodyPr vert="horz" wrap="none" lIns="91440" tIns="45720" rIns="91440" bIns="45720" rtlCol="0" anchor="ctr">
            <a:normAutofit/>
          </a:bodyPr>
          <a:lstStyle/>
          <a:p>
            <a:pPr marL="0" marR="0" indent="0" algn="ctr" defTabSz="457200" rtl="0" eaLnBrk="1" fontAlgn="auto" latinLnBrk="0" hangingPunct="1">
              <a:lnSpc>
                <a:spcPct val="100000"/>
              </a:lnSpc>
              <a:spcBef>
                <a:spcPct val="0"/>
              </a:spcBef>
              <a:spcAft>
                <a:spcPts val="0"/>
              </a:spcAft>
              <a:buClrTx/>
              <a:buSzTx/>
              <a:buFontTx/>
              <a:buNone/>
              <a:tabLst/>
            </a:pPr>
            <a:endParaRPr kumimoji="0" lang="en-US" sz="4400" b="0" i="0" u="none" strike="noStrike" kern="1200" cap="none" spc="0" normalizeH="0" baseline="0" noProof="0">
              <a:ln>
                <a:noFill/>
              </a:ln>
              <a:solidFill>
                <a:schemeClr val="tx1"/>
              </a:solidFill>
              <a:effectLst/>
              <a:uLnTx/>
              <a:uFillTx/>
              <a:latin typeface="Verdana"/>
              <a:ea typeface="+mj-ea"/>
              <a:cs typeface="+mj-cs"/>
            </a:endParaRPr>
          </a:p>
        </p:txBody>
      </p:sp>
      <p:pic>
        <p:nvPicPr>
          <p:cNvPr id="15" name="Picture 2"/>
          <p:cNvPicPr>
            <a:picLocks noChangeAspect="1" noChangeArrowheads="1"/>
          </p:cNvPicPr>
          <p:nvPr/>
        </p:nvPicPr>
        <p:blipFill>
          <a:blip r:embed="rId3"/>
          <a:srcRect/>
          <a:stretch>
            <a:fillRect/>
          </a:stretch>
        </p:blipFill>
        <p:spPr bwMode="auto">
          <a:xfrm>
            <a:off x="685800" y="402621"/>
            <a:ext cx="1336802" cy="603250"/>
          </a:xfrm>
          <a:prstGeom prst="rect">
            <a:avLst/>
          </a:prstGeom>
          <a:noFill/>
          <a:ln w="9525">
            <a:noFill/>
            <a:miter lim="800000"/>
            <a:headEnd/>
            <a:tailEnd/>
          </a:ln>
          <a:effectLst/>
        </p:spPr>
      </p:pic>
      <p:sp>
        <p:nvSpPr>
          <p:cNvPr id="16" name="TextBox 15"/>
          <p:cNvSpPr txBox="1"/>
          <p:nvPr/>
        </p:nvSpPr>
        <p:spPr>
          <a:xfrm>
            <a:off x="8134350" y="4908550"/>
            <a:ext cx="914400" cy="914400"/>
          </a:xfrm>
          <a:prstGeom prst="rect">
            <a:avLst/>
          </a:prstGeom>
        </p:spPr>
        <p:txBody>
          <a:bodyPr vert="horz" wrap="none" lIns="91440" tIns="45720" rIns="91440" bIns="45720" rtlCol="0" anchor="ctr">
            <a:normAutofit/>
          </a:bodyPr>
          <a:lstStyle/>
          <a:p>
            <a:pPr marL="0" marR="0" indent="0" algn="ctr" defTabSz="457200" rtl="0" eaLnBrk="1" fontAlgn="auto" latinLnBrk="0" hangingPunct="1">
              <a:lnSpc>
                <a:spcPct val="100000"/>
              </a:lnSpc>
              <a:spcBef>
                <a:spcPct val="0"/>
              </a:spcBef>
              <a:spcAft>
                <a:spcPts val="0"/>
              </a:spcAft>
              <a:buClrTx/>
              <a:buSzTx/>
              <a:buFontTx/>
              <a:buNone/>
              <a:tabLst/>
            </a:pPr>
            <a:endParaRPr kumimoji="0" lang="en-US" sz="4400" b="0" i="0" u="none" strike="noStrike" kern="1200" cap="none" spc="0" normalizeH="0" baseline="0" noProof="0">
              <a:ln>
                <a:noFill/>
              </a:ln>
              <a:solidFill>
                <a:schemeClr val="tx1"/>
              </a:solidFill>
              <a:effectLst/>
              <a:uLnTx/>
              <a:uFillTx/>
              <a:latin typeface="Verdana"/>
              <a:ea typeface="+mj-ea"/>
              <a:cs typeface="+mj-cs"/>
            </a:endParaRPr>
          </a:p>
        </p:txBody>
      </p:sp>
      <p:sp>
        <p:nvSpPr>
          <p:cNvPr id="2" name="Title 1"/>
          <p:cNvSpPr>
            <a:spLocks noGrp="1"/>
          </p:cNvSpPr>
          <p:nvPr>
            <p:ph type="title" hasCustomPrompt="1"/>
          </p:nvPr>
        </p:nvSpPr>
        <p:spPr>
          <a:xfrm>
            <a:off x="685800" y="3411937"/>
            <a:ext cx="7494037" cy="995999"/>
          </a:xfrm>
          <a:prstGeom prst="rect">
            <a:avLst/>
          </a:prstGeom>
        </p:spPr>
        <p:txBody>
          <a:bodyPr wrap="square" lIns="0" tIns="0" rIns="0" bIns="0" anchor="b" anchorCtr="0">
            <a:noAutofit/>
          </a:bodyPr>
          <a:lstStyle>
            <a:lvl1pPr algn="l">
              <a:lnSpc>
                <a:spcPts val="3800"/>
              </a:lnSpc>
              <a:defRPr sz="2800" b="0" cap="none">
                <a:solidFill>
                  <a:srgbClr val="68737A"/>
                </a:solidFill>
              </a:defRPr>
            </a:lvl1pPr>
          </a:lstStyle>
          <a:p>
            <a:r>
              <a:rPr lang="en-US" dirty="0"/>
              <a:t>Click to edit </a:t>
            </a:r>
            <a:br>
              <a:rPr lang="en-US" dirty="0"/>
            </a:br>
            <a:r>
              <a:rPr lang="en-US" dirty="0"/>
              <a:t>master text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ong Title and Content 2">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9" name="Text Placeholder 4">
            <a:extLst>
              <a:ext uri="{FF2B5EF4-FFF2-40B4-BE49-F238E27FC236}">
                <a16:creationId xmlns:a16="http://schemas.microsoft.com/office/drawing/2014/main" id="{F28394C2-C78C-2F4F-AC8F-D053059C6D1E}"/>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3" name="Text Placeholder 2">
            <a:extLst>
              <a:ext uri="{FF2B5EF4-FFF2-40B4-BE49-F238E27FC236}">
                <a16:creationId xmlns:a16="http://schemas.microsoft.com/office/drawing/2014/main" id="{91B453D8-2CCB-F349-B3C5-71DED3B1E67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 with long title copywriting</a:t>
            </a:r>
          </a:p>
        </p:txBody>
      </p:sp>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7" name="Content Placeholder 3">
            <a:extLst>
              <a:ext uri="{FF2B5EF4-FFF2-40B4-BE49-F238E27FC236}">
                <a16:creationId xmlns:a16="http://schemas.microsoft.com/office/drawing/2014/main" id="{8A98B763-528D-1E4B-A9C3-DD74A48A59F6}"/>
              </a:ext>
            </a:extLst>
          </p:cNvPr>
          <p:cNvSpPr>
            <a:spLocks noGrp="1"/>
          </p:cNvSpPr>
          <p:nvPr>
            <p:ph sz="quarter" idx="12"/>
          </p:nvPr>
        </p:nvSpPr>
        <p:spPr>
          <a:xfrm>
            <a:off x="685800" y="1495425"/>
            <a:ext cx="3785038" cy="3209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a:extLst>
              <a:ext uri="{FF2B5EF4-FFF2-40B4-BE49-F238E27FC236}">
                <a16:creationId xmlns:a16="http://schemas.microsoft.com/office/drawing/2014/main" id="{EFDE8B11-E622-B545-B01E-737D424EB055}"/>
              </a:ext>
            </a:extLst>
          </p:cNvPr>
          <p:cNvSpPr>
            <a:spLocks noGrp="1"/>
          </p:cNvSpPr>
          <p:nvPr>
            <p:ph sz="quarter" idx="13"/>
          </p:nvPr>
        </p:nvSpPr>
        <p:spPr>
          <a:xfrm>
            <a:off x="4635062" y="1495424"/>
            <a:ext cx="3785038" cy="3209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ng 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2">
            <a:extLst>
              <a:ext uri="{FF2B5EF4-FFF2-40B4-BE49-F238E27FC236}">
                <a16:creationId xmlns:a16="http://schemas.microsoft.com/office/drawing/2014/main" id="{ABE388AB-E1A4-DF49-B427-39341F88605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 with long title copywriting</a:t>
            </a:r>
          </a:p>
        </p:txBody>
      </p:sp>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8" name="Content Placeholder 2">
            <a:extLst>
              <a:ext uri="{FF2B5EF4-FFF2-40B4-BE49-F238E27FC236}">
                <a16:creationId xmlns:a16="http://schemas.microsoft.com/office/drawing/2014/main" id="{1CE9CD11-24D5-214C-B6BE-3B675237F2F4}"/>
              </a:ext>
            </a:extLst>
          </p:cNvPr>
          <p:cNvSpPr>
            <a:spLocks noGrp="1"/>
          </p:cNvSpPr>
          <p:nvPr>
            <p:ph sz="quarter" idx="12"/>
          </p:nvPr>
        </p:nvSpPr>
        <p:spPr>
          <a:xfrm>
            <a:off x="685800" y="1495424"/>
            <a:ext cx="1867995" cy="3209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2">
            <a:extLst>
              <a:ext uri="{FF2B5EF4-FFF2-40B4-BE49-F238E27FC236}">
                <a16:creationId xmlns:a16="http://schemas.microsoft.com/office/drawing/2014/main" id="{ACE83162-7C8C-2D44-BE4C-956F0CA0C579}"/>
              </a:ext>
            </a:extLst>
          </p:cNvPr>
          <p:cNvSpPr>
            <a:spLocks noGrp="1"/>
          </p:cNvSpPr>
          <p:nvPr>
            <p:ph sz="quarter" idx="13"/>
          </p:nvPr>
        </p:nvSpPr>
        <p:spPr>
          <a:xfrm>
            <a:off x="2688130" y="1495424"/>
            <a:ext cx="1867995" cy="3209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2">
            <a:extLst>
              <a:ext uri="{FF2B5EF4-FFF2-40B4-BE49-F238E27FC236}">
                <a16:creationId xmlns:a16="http://schemas.microsoft.com/office/drawing/2014/main" id="{B97221F4-86E2-D340-8769-E91E636C145C}"/>
              </a:ext>
            </a:extLst>
          </p:cNvPr>
          <p:cNvSpPr>
            <a:spLocks noGrp="1"/>
          </p:cNvSpPr>
          <p:nvPr>
            <p:ph sz="quarter" idx="14"/>
          </p:nvPr>
        </p:nvSpPr>
        <p:spPr>
          <a:xfrm>
            <a:off x="4690460" y="1495424"/>
            <a:ext cx="3729640" cy="3209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ong Title and Content 4">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2">
            <a:extLst>
              <a:ext uri="{FF2B5EF4-FFF2-40B4-BE49-F238E27FC236}">
                <a16:creationId xmlns:a16="http://schemas.microsoft.com/office/drawing/2014/main" id="{ABE388AB-E1A4-DF49-B427-39341F88605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 with long title copywriting</a:t>
            </a:r>
          </a:p>
        </p:txBody>
      </p:sp>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Text Placeholder 23">
            <a:extLst>
              <a:ext uri="{FF2B5EF4-FFF2-40B4-BE49-F238E27FC236}">
                <a16:creationId xmlns:a16="http://schemas.microsoft.com/office/drawing/2014/main" id="{A523E239-1D7F-9048-8FD6-4E5A8353F604}"/>
              </a:ext>
            </a:extLst>
          </p:cNvPr>
          <p:cNvSpPr>
            <a:spLocks noGrp="1"/>
          </p:cNvSpPr>
          <p:nvPr>
            <p:ph type="body" sz="quarter" idx="12"/>
          </p:nvPr>
        </p:nvSpPr>
        <p:spPr>
          <a:xfrm>
            <a:off x="685801" y="1495425"/>
            <a:ext cx="1197238" cy="290848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27">
            <a:extLst>
              <a:ext uri="{FF2B5EF4-FFF2-40B4-BE49-F238E27FC236}">
                <a16:creationId xmlns:a16="http://schemas.microsoft.com/office/drawing/2014/main" id="{19273D99-9830-D345-80C1-21410D674971}"/>
              </a:ext>
            </a:extLst>
          </p:cNvPr>
          <p:cNvSpPr>
            <a:spLocks noGrp="1"/>
          </p:cNvSpPr>
          <p:nvPr>
            <p:ph type="body" sz="quarter" idx="13"/>
          </p:nvPr>
        </p:nvSpPr>
        <p:spPr>
          <a:xfrm>
            <a:off x="1989699" y="1495424"/>
            <a:ext cx="1197238" cy="290848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29">
            <a:extLst>
              <a:ext uri="{FF2B5EF4-FFF2-40B4-BE49-F238E27FC236}">
                <a16:creationId xmlns:a16="http://schemas.microsoft.com/office/drawing/2014/main" id="{AC6D3C91-9ECB-CB46-BE75-06FFB359375B}"/>
              </a:ext>
            </a:extLst>
          </p:cNvPr>
          <p:cNvSpPr>
            <a:spLocks noGrp="1"/>
          </p:cNvSpPr>
          <p:nvPr>
            <p:ph type="body" sz="quarter" idx="14"/>
          </p:nvPr>
        </p:nvSpPr>
        <p:spPr>
          <a:xfrm>
            <a:off x="3293597" y="1495424"/>
            <a:ext cx="1197238" cy="290848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31">
            <a:extLst>
              <a:ext uri="{FF2B5EF4-FFF2-40B4-BE49-F238E27FC236}">
                <a16:creationId xmlns:a16="http://schemas.microsoft.com/office/drawing/2014/main" id="{7722FB60-71AB-AB45-A465-0EC228C7998B}"/>
              </a:ext>
            </a:extLst>
          </p:cNvPr>
          <p:cNvSpPr>
            <a:spLocks noGrp="1"/>
          </p:cNvSpPr>
          <p:nvPr>
            <p:ph type="body" sz="quarter" idx="15"/>
          </p:nvPr>
        </p:nvSpPr>
        <p:spPr>
          <a:xfrm>
            <a:off x="4597495" y="1495424"/>
            <a:ext cx="1197238" cy="290848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33">
            <a:extLst>
              <a:ext uri="{FF2B5EF4-FFF2-40B4-BE49-F238E27FC236}">
                <a16:creationId xmlns:a16="http://schemas.microsoft.com/office/drawing/2014/main" id="{652AE153-B7D8-984E-AB0A-ADF2B07D2AFA}"/>
              </a:ext>
            </a:extLst>
          </p:cNvPr>
          <p:cNvSpPr>
            <a:spLocks noGrp="1"/>
          </p:cNvSpPr>
          <p:nvPr>
            <p:ph type="body" sz="quarter" idx="16"/>
          </p:nvPr>
        </p:nvSpPr>
        <p:spPr>
          <a:xfrm>
            <a:off x="5901393" y="1495424"/>
            <a:ext cx="1197238" cy="290848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35">
            <a:extLst>
              <a:ext uri="{FF2B5EF4-FFF2-40B4-BE49-F238E27FC236}">
                <a16:creationId xmlns:a16="http://schemas.microsoft.com/office/drawing/2014/main" id="{E2E49344-BD5D-1342-B403-D3C27D813409}"/>
              </a:ext>
            </a:extLst>
          </p:cNvPr>
          <p:cNvSpPr>
            <a:spLocks noGrp="1"/>
          </p:cNvSpPr>
          <p:nvPr>
            <p:ph type="body" sz="quarter" idx="17"/>
          </p:nvPr>
        </p:nvSpPr>
        <p:spPr>
          <a:xfrm>
            <a:off x="7205292" y="1495424"/>
            <a:ext cx="1197238" cy="290848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09379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pic>
        <p:nvPicPr>
          <p:cNvPr id="11" name="Picture 3"/>
          <p:cNvPicPr>
            <a:picLocks noChangeAspect="1" noChangeArrowheads="1"/>
          </p:cNvPicPr>
          <p:nvPr userDrawn="1"/>
        </p:nvPicPr>
        <p:blipFill>
          <a:blip r:embed="rId2"/>
          <a:srcRect l="12501" t="29888" r="21959"/>
          <a:stretch>
            <a:fillRect/>
          </a:stretch>
        </p:blipFill>
        <p:spPr bwMode="auto">
          <a:xfrm>
            <a:off x="0" y="0"/>
            <a:ext cx="9144001" cy="3562952"/>
          </a:xfrm>
          <a:prstGeom prst="rect">
            <a:avLst/>
          </a:prstGeom>
          <a:noFill/>
          <a:ln w="9525">
            <a:noFill/>
            <a:miter lim="800000"/>
            <a:headEnd/>
            <a:tailEnd/>
          </a:ln>
          <a:effectLst/>
        </p:spPr>
      </p:pic>
      <p:sp>
        <p:nvSpPr>
          <p:cNvPr id="3" name="Text Placeholder 2"/>
          <p:cNvSpPr>
            <a:spLocks noGrp="1"/>
          </p:cNvSpPr>
          <p:nvPr>
            <p:ph type="body" idx="1" hasCustomPrompt="1"/>
          </p:nvPr>
        </p:nvSpPr>
        <p:spPr>
          <a:xfrm>
            <a:off x="685800" y="4579620"/>
            <a:ext cx="363306" cy="159018"/>
          </a:xfrm>
          <a:prstGeom prst="rect">
            <a:avLst/>
          </a:prstGeom>
        </p:spPr>
        <p:txBody>
          <a:bodyPr wrap="none" lIns="0" tIns="0" rIns="0" bIns="0" anchor="t" anchorCtr="0">
            <a:spAutoFit/>
          </a:bodyPr>
          <a:lstStyle>
            <a:lvl1pPr marL="0" indent="0">
              <a:lnSpc>
                <a:spcPts val="1200"/>
              </a:lnSpc>
              <a:spcBef>
                <a:spcPts val="0"/>
              </a:spcBef>
              <a:buNone/>
              <a:defRPr sz="12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Date</a:t>
            </a:r>
          </a:p>
        </p:txBody>
      </p:sp>
      <p:sp>
        <p:nvSpPr>
          <p:cNvPr id="14" name="Text Placeholder 2"/>
          <p:cNvSpPr>
            <a:spLocks noGrp="1"/>
          </p:cNvSpPr>
          <p:nvPr>
            <p:ph type="body" idx="11" hasCustomPrompt="1"/>
          </p:nvPr>
        </p:nvSpPr>
        <p:spPr>
          <a:xfrm>
            <a:off x="2243409" y="4579620"/>
            <a:ext cx="924231" cy="159018"/>
          </a:xfrm>
          <a:prstGeom prst="rect">
            <a:avLst/>
          </a:prstGeom>
        </p:spPr>
        <p:txBody>
          <a:bodyPr wrap="none" lIns="0" tIns="0" rIns="0" bIns="0" anchor="t" anchorCtr="0">
            <a:spAutoFit/>
          </a:bodyPr>
          <a:lstStyle>
            <a:lvl1pPr marL="0" indent="0">
              <a:lnSpc>
                <a:spcPts val="1200"/>
              </a:lnSpc>
              <a:spcBef>
                <a:spcPts val="0"/>
              </a:spcBef>
              <a:buNone/>
              <a:defRPr sz="12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Department</a:t>
            </a:r>
          </a:p>
        </p:txBody>
      </p:sp>
      <p:sp>
        <p:nvSpPr>
          <p:cNvPr id="9" name="TextBox 8"/>
          <p:cNvSpPr txBox="1"/>
          <p:nvPr/>
        </p:nvSpPr>
        <p:spPr>
          <a:xfrm>
            <a:off x="8134350" y="4908550"/>
            <a:ext cx="914400" cy="914400"/>
          </a:xfrm>
          <a:prstGeom prst="rect">
            <a:avLst/>
          </a:prstGeom>
        </p:spPr>
        <p:txBody>
          <a:bodyPr vert="horz" wrap="none" lIns="91440" tIns="45720" rIns="91440" bIns="45720" rtlCol="0" anchor="ctr">
            <a:normAutofit/>
          </a:bodyPr>
          <a:lstStyle/>
          <a:p>
            <a:pPr marL="0" marR="0" indent="0" algn="ctr" defTabSz="457200" rtl="0" eaLnBrk="1" fontAlgn="auto" latinLnBrk="0" hangingPunct="1">
              <a:lnSpc>
                <a:spcPct val="100000"/>
              </a:lnSpc>
              <a:spcBef>
                <a:spcPct val="0"/>
              </a:spcBef>
              <a:spcAft>
                <a:spcPts val="0"/>
              </a:spcAft>
              <a:buClrTx/>
              <a:buSzTx/>
              <a:buFontTx/>
              <a:buNone/>
              <a:tabLst/>
            </a:pPr>
            <a:endParaRPr kumimoji="0" lang="en-US" sz="4400" b="0" i="0" u="none" strike="noStrike" kern="1200" cap="none" spc="0" normalizeH="0" baseline="0" noProof="0" dirty="0">
              <a:ln>
                <a:noFill/>
              </a:ln>
              <a:solidFill>
                <a:schemeClr val="tx1"/>
              </a:solidFill>
              <a:effectLst/>
              <a:uLnTx/>
              <a:uFillTx/>
              <a:latin typeface="Verdana"/>
              <a:ea typeface="+mj-ea"/>
              <a:cs typeface="+mj-cs"/>
            </a:endParaRPr>
          </a:p>
        </p:txBody>
      </p:sp>
      <p:pic>
        <p:nvPicPr>
          <p:cNvPr id="15" name="Picture 2"/>
          <p:cNvPicPr>
            <a:picLocks noChangeAspect="1" noChangeArrowheads="1"/>
          </p:cNvPicPr>
          <p:nvPr/>
        </p:nvPicPr>
        <p:blipFill>
          <a:blip r:embed="rId3"/>
          <a:srcRect/>
          <a:stretch>
            <a:fillRect/>
          </a:stretch>
        </p:blipFill>
        <p:spPr bwMode="auto">
          <a:xfrm>
            <a:off x="685800" y="402621"/>
            <a:ext cx="1336802" cy="603250"/>
          </a:xfrm>
          <a:prstGeom prst="rect">
            <a:avLst/>
          </a:prstGeom>
          <a:noFill/>
          <a:ln w="9525">
            <a:noFill/>
            <a:miter lim="800000"/>
            <a:headEnd/>
            <a:tailEnd/>
          </a:ln>
          <a:effectLst/>
        </p:spPr>
      </p:pic>
      <p:sp>
        <p:nvSpPr>
          <p:cNvPr id="16" name="TextBox 15"/>
          <p:cNvSpPr txBox="1"/>
          <p:nvPr/>
        </p:nvSpPr>
        <p:spPr>
          <a:xfrm>
            <a:off x="8134350" y="4908550"/>
            <a:ext cx="914400" cy="914400"/>
          </a:xfrm>
          <a:prstGeom prst="rect">
            <a:avLst/>
          </a:prstGeom>
        </p:spPr>
        <p:txBody>
          <a:bodyPr vert="horz" wrap="none" lIns="91440" tIns="45720" rIns="91440" bIns="45720" rtlCol="0" anchor="ctr">
            <a:normAutofit/>
          </a:bodyPr>
          <a:lstStyle/>
          <a:p>
            <a:pPr marL="0" marR="0" indent="0" algn="ctr" defTabSz="457200" rtl="0" eaLnBrk="1" fontAlgn="auto" latinLnBrk="0" hangingPunct="1">
              <a:lnSpc>
                <a:spcPct val="100000"/>
              </a:lnSpc>
              <a:spcBef>
                <a:spcPct val="0"/>
              </a:spcBef>
              <a:spcAft>
                <a:spcPts val="0"/>
              </a:spcAft>
              <a:buClrTx/>
              <a:buSzTx/>
              <a:buFontTx/>
              <a:buNone/>
              <a:tabLst/>
            </a:pPr>
            <a:endParaRPr kumimoji="0" lang="en-US" sz="4400" b="0" i="0" u="none" strike="noStrike" kern="1200" cap="none" spc="0" normalizeH="0" baseline="0" noProof="0" dirty="0">
              <a:ln>
                <a:noFill/>
              </a:ln>
              <a:solidFill>
                <a:schemeClr val="tx1"/>
              </a:solidFill>
              <a:effectLst/>
              <a:uLnTx/>
              <a:uFillTx/>
              <a:latin typeface="Verdana"/>
              <a:ea typeface="+mj-ea"/>
              <a:cs typeface="+mj-cs"/>
            </a:endParaRPr>
          </a:p>
        </p:txBody>
      </p:sp>
      <p:sp>
        <p:nvSpPr>
          <p:cNvPr id="2" name="Title 1"/>
          <p:cNvSpPr>
            <a:spLocks noGrp="1"/>
          </p:cNvSpPr>
          <p:nvPr>
            <p:ph type="title" hasCustomPrompt="1"/>
          </p:nvPr>
        </p:nvSpPr>
        <p:spPr>
          <a:xfrm>
            <a:off x="685800" y="3411937"/>
            <a:ext cx="7494037" cy="995999"/>
          </a:xfrm>
          <a:prstGeom prst="rect">
            <a:avLst/>
          </a:prstGeom>
        </p:spPr>
        <p:txBody>
          <a:bodyPr wrap="square" lIns="0" tIns="0" rIns="0" bIns="0" anchor="b" anchorCtr="0">
            <a:noAutofit/>
          </a:bodyPr>
          <a:lstStyle>
            <a:lvl1pPr algn="l">
              <a:lnSpc>
                <a:spcPts val="3800"/>
              </a:lnSpc>
              <a:defRPr sz="2800" b="0" cap="none">
                <a:solidFill>
                  <a:srgbClr val="68737A"/>
                </a:solidFill>
              </a:defRPr>
            </a:lvl1pPr>
          </a:lstStyle>
          <a:p>
            <a:r>
              <a:rPr lang="en-US"/>
              <a:t>Click to edit </a:t>
            </a:r>
            <a:br>
              <a:rPr lang="en-US"/>
            </a:br>
            <a:r>
              <a:rPr lang="en-US"/>
              <a:t>master text style</a:t>
            </a:r>
          </a:p>
        </p:txBody>
      </p:sp>
    </p:spTree>
    <p:extLst>
      <p:ext uri="{BB962C8B-B14F-4D97-AF65-F5344CB8AC3E}">
        <p14:creationId xmlns:p14="http://schemas.microsoft.com/office/powerpoint/2010/main" val="3664283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E97C1E-5D03-B74B-8E0A-279962218740}"/>
              </a:ext>
            </a:extLst>
          </p:cNvPr>
          <p:cNvPicPr>
            <a:picLocks noChangeAspect="1"/>
          </p:cNvPicPr>
          <p:nvPr userDrawn="1"/>
        </p:nvPicPr>
        <p:blipFill rotWithShape="1">
          <a:blip r:embed="rId2"/>
          <a:srcRect t="35907" b="5105"/>
          <a:stretch/>
        </p:blipFill>
        <p:spPr>
          <a:xfrm>
            <a:off x="0" y="2109458"/>
            <a:ext cx="9144000" cy="3034042"/>
          </a:xfrm>
          <a:prstGeom prst="rect">
            <a:avLst/>
          </a:prstGeom>
        </p:spPr>
      </p:pic>
      <p:sp>
        <p:nvSpPr>
          <p:cNvPr id="3" name="Text Placeholder 2"/>
          <p:cNvSpPr>
            <a:spLocks noGrp="1"/>
          </p:cNvSpPr>
          <p:nvPr>
            <p:ph type="body" idx="1" hasCustomPrompt="1"/>
          </p:nvPr>
        </p:nvSpPr>
        <p:spPr>
          <a:xfrm>
            <a:off x="685800" y="1184973"/>
            <a:ext cx="7734302" cy="325069"/>
          </a:xfrm>
          <a:prstGeom prst="rect">
            <a:avLst/>
          </a:prstGeom>
        </p:spPr>
        <p:txBody>
          <a:bodyPr wrap="square" lIns="18288" tIns="0" rIns="0" bIns="0" anchor="t" anchorCtr="0">
            <a:noAutofit/>
          </a:bodyPr>
          <a:lstStyle>
            <a:lvl1pPr marL="0" indent="0">
              <a:lnSpc>
                <a:spcPts val="2000"/>
              </a:lnSpc>
              <a:spcBef>
                <a:spcPts val="0"/>
              </a:spcBef>
              <a:buNone/>
              <a:defRPr sz="18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a:t>
            </a:r>
          </a:p>
        </p:txBody>
      </p:sp>
      <p:sp>
        <p:nvSpPr>
          <p:cNvPr id="2" name="Title 1"/>
          <p:cNvSpPr>
            <a:spLocks noGrp="1"/>
          </p:cNvSpPr>
          <p:nvPr>
            <p:ph type="title" hasCustomPrompt="1"/>
          </p:nvPr>
        </p:nvSpPr>
        <p:spPr>
          <a:xfrm>
            <a:off x="685800" y="1510042"/>
            <a:ext cx="7734300" cy="1061708"/>
          </a:xfrm>
          <a:prstGeom prst="rect">
            <a:avLst/>
          </a:prstGeom>
        </p:spPr>
        <p:txBody>
          <a:bodyPr wrap="square" lIns="0" tIns="0" rIns="0" bIns="0" anchor="t">
            <a:noAutofit/>
          </a:bodyPr>
          <a:lstStyle>
            <a:lvl1pPr algn="l">
              <a:lnSpc>
                <a:spcPts val="3400"/>
              </a:lnSpc>
              <a:defRPr sz="3000" b="0" cap="none">
                <a:solidFill>
                  <a:srgbClr val="68737A"/>
                </a:solidFill>
              </a:defRPr>
            </a:lvl1pPr>
          </a:lstStyle>
          <a:p>
            <a:r>
              <a:rPr lang="en-US"/>
              <a:t>Click to edit master text style</a:t>
            </a:r>
          </a:p>
        </p:txBody>
      </p:sp>
    </p:spTree>
    <p:extLst>
      <p:ext uri="{BB962C8B-B14F-4D97-AF65-F5344CB8AC3E}">
        <p14:creationId xmlns:p14="http://schemas.microsoft.com/office/powerpoint/2010/main" val="28370444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461529"/>
            <a:ext cx="7200026" cy="296662"/>
          </a:xfrm>
          <a:prstGeom prst="rect">
            <a:avLst/>
          </a:prstGeom>
        </p:spPr>
        <p:txBody>
          <a:bodyPr wrap="square" lIns="0" tIns="0" rIns="0" bIns="0" anchor="t" anchorCtr="0">
            <a:noAutofit/>
          </a:bodyPr>
          <a:lstStyle>
            <a:lvl1pPr algn="l">
              <a:lnSpc>
                <a:spcPts val="2800"/>
              </a:lnSpc>
              <a:defRPr sz="2000" b="0" baseline="0">
                <a:solidFill>
                  <a:srgbClr val="68737A"/>
                </a:solidFill>
              </a:defRPr>
            </a:lvl1pPr>
          </a:lstStyle>
          <a:p>
            <a:r>
              <a:rPr lang="en-US"/>
              <a:t>Click to edit master text style</a:t>
            </a:r>
          </a:p>
        </p:txBody>
      </p:sp>
      <p:pic>
        <p:nvPicPr>
          <p:cNvPr id="8"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1"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9" name="Text Placeholder 4">
            <a:extLst>
              <a:ext uri="{FF2B5EF4-FFF2-40B4-BE49-F238E27FC236}">
                <a16:creationId xmlns:a16="http://schemas.microsoft.com/office/drawing/2014/main" id="{A1F4906D-0223-E04B-8578-CF01B3F1929F}"/>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0"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16" name="Content Placeholder 15">
            <a:extLst>
              <a:ext uri="{FF2B5EF4-FFF2-40B4-BE49-F238E27FC236}">
                <a16:creationId xmlns:a16="http://schemas.microsoft.com/office/drawing/2014/main" id="{1D6298DA-E31F-2F40-A903-04C7B5D5DAC6}"/>
              </a:ext>
            </a:extLst>
          </p:cNvPr>
          <p:cNvSpPr>
            <a:spLocks noGrp="1"/>
          </p:cNvSpPr>
          <p:nvPr>
            <p:ph sz="quarter" idx="10"/>
          </p:nvPr>
        </p:nvSpPr>
        <p:spPr/>
        <p:txBody>
          <a:bodyPr/>
          <a:lst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lvl1pPr>
            <a:lvl2pPr marL="347472" marR="0" indent="-171450" algn="l" defTabSz="457200" rtl="0" eaLnBrk="1" fontAlgn="auto" latinLnBrk="0" hangingPunct="1">
              <a:lnSpc>
                <a:spcPct val="100000"/>
              </a:lnSpc>
              <a:spcBef>
                <a:spcPts val="0"/>
              </a:spcBef>
              <a:spcAft>
                <a:spcPts val="600"/>
              </a:spcAft>
              <a:buClrTx/>
              <a:buSzTx/>
              <a:buFont typeface="System Font Regular"/>
              <a:buChar char="–"/>
              <a:tabLst/>
              <a:defRPr/>
            </a:lvl2pPr>
            <a:lvl3pPr marL="521208" marR="0" indent="-171450" algn="l" defTabSz="457200" rtl="0" eaLnBrk="1" fontAlgn="auto" latinLnBrk="0" hangingPunct="1">
              <a:lnSpc>
                <a:spcPct val="100000"/>
              </a:lnSpc>
              <a:spcBef>
                <a:spcPts val="0"/>
              </a:spcBef>
              <a:spcAft>
                <a:spcPts val="600"/>
              </a:spcAft>
              <a:buClrTx/>
              <a:buSzTx/>
              <a:buFont typeface="Courier New" panose="020F0502020204030204" pitchFamily="34" charset="0"/>
              <a:buChar char="o"/>
              <a:tabLst/>
              <a:defRPr/>
            </a:lvl3pPr>
            <a:lvl4pPr marL="694944" marR="0" indent="-171450" algn="l" defTabSz="173736" rtl="0" eaLnBrk="1" fontAlgn="auto" latinLnBrk="0" hangingPunct="1">
              <a:lnSpc>
                <a:spcPct val="100000"/>
              </a:lnSpc>
              <a:spcBef>
                <a:spcPts val="0"/>
              </a:spcBef>
              <a:spcAft>
                <a:spcPts val="600"/>
              </a:spcAft>
              <a:buClrTx/>
              <a:buSzTx/>
              <a:buFont typeface="Wingdings" pitchFamily="2" charset="2"/>
              <a:buChar char="Ø"/>
              <a:tabLst/>
              <a:defRPr/>
            </a:lvl4pPr>
            <a:lvl5pPr marL="868680" marR="0" indent="-169863" algn="l" defTabSz="457200" rtl="0" eaLnBrk="1" fontAlgn="auto" latinLnBrk="0" hangingPunct="1">
              <a:lnSpc>
                <a:spcPct val="100000"/>
              </a:lnSpc>
              <a:spcBef>
                <a:spcPts val="0"/>
              </a:spcBef>
              <a:spcAft>
                <a:spcPts val="600"/>
              </a:spcAft>
              <a:buClrTx/>
              <a:buSzTx/>
              <a:buFont typeface="Wingdings" pitchFamily="2" charset="2"/>
              <a:buChar char="§"/>
              <a:tabLst/>
              <a:defRPr/>
            </a:lvl5pPr>
            <a:lvl6pPr marL="1042416" marR="0" indent="-171450" algn="l" defTabSz="457200" rtl="0" eaLnBrk="1" fontAlgn="auto" latinLnBrk="0" hangingPunct="1">
              <a:lnSpc>
                <a:spcPct val="100000"/>
              </a:lnSpc>
              <a:spcBef>
                <a:spcPts val="0"/>
              </a:spcBef>
              <a:spcAft>
                <a:spcPts val="600"/>
              </a:spcAft>
              <a:buClrTx/>
              <a:buSzTx/>
              <a:buFont typeface="Arial"/>
              <a:buChar char="•"/>
              <a:tabLst/>
              <a:defRPr/>
            </a:lvl6p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Edit Master text styles</a:t>
            </a:r>
          </a:p>
          <a:p>
            <a:pPr marL="171450" marR="0" lvl="1"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Second level</a:t>
            </a:r>
          </a:p>
          <a:p>
            <a:pPr marL="171450" marR="0" lvl="2"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Third level</a:t>
            </a:r>
          </a:p>
          <a:p>
            <a:pPr marL="171450" marR="0" lvl="3"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Fourth level</a:t>
            </a:r>
          </a:p>
          <a:p>
            <a:pPr marL="171450" marR="0" lvl="4"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Fifth level</a:t>
            </a:r>
            <a:endParaRPr kumimoji="0" lang="en-US" sz="900" b="0" i="0" u="none" strike="noStrike" kern="1200" cap="none" spc="0" normalizeH="0" baseline="0" noProof="0">
              <a:ln>
                <a:noFill/>
              </a:ln>
              <a:solidFill>
                <a:srgbClr val="687379"/>
              </a:solidFill>
              <a:effectLst/>
              <a:uLnTx/>
              <a:uFillTx/>
              <a:latin typeface="+mn-lt"/>
              <a:ea typeface="+mn-ea"/>
              <a:cs typeface="+mn-cs"/>
            </a:endParaRPr>
          </a:p>
        </p:txBody>
      </p:sp>
    </p:spTree>
    <p:extLst>
      <p:ext uri="{BB962C8B-B14F-4D97-AF65-F5344CB8AC3E}">
        <p14:creationId xmlns:p14="http://schemas.microsoft.com/office/powerpoint/2010/main" val="790725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17" name="Slide Number Placeholder 5"/>
          <p:cNvSpPr txBox="1">
            <a:spLocks/>
          </p:cNvSpPr>
          <p:nvPr userDrawn="1"/>
        </p:nvSpPr>
        <p:spPr>
          <a:xfrm>
            <a:off x="8529290" y="5015121"/>
            <a:ext cx="153889" cy="66685"/>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257169" rtl="0" eaLnBrk="1" fontAlgn="auto" latinLnBrk="0" hangingPunct="1">
              <a:lnSpc>
                <a:spcPts val="45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chemeClr val="tx1">
                    <a:lumMod val="75000"/>
                  </a:schemeClr>
                </a:solidFill>
                <a:effectLst/>
                <a:uLnTx/>
                <a:uFillTx/>
                <a:latin typeface="Verdana"/>
                <a:ea typeface="+mn-ea"/>
                <a:cs typeface="+mn-cs"/>
              </a:rPr>
              <a:pPr marL="0" marR="0" lvl="0" indent="0" algn="r" defTabSz="257169" rtl="0" eaLnBrk="1" fontAlgn="auto" latinLnBrk="0" hangingPunct="1">
                <a:lnSpc>
                  <a:spcPts val="45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chemeClr val="tx1">
                  <a:lumMod val="75000"/>
                </a:schemeClr>
              </a:solidFill>
              <a:effectLst/>
              <a:uLnTx/>
              <a:uFillTx/>
              <a:latin typeface="Verdana"/>
              <a:ea typeface="+mn-ea"/>
              <a:cs typeface="+mn-cs"/>
            </a:endParaRPr>
          </a:p>
        </p:txBody>
      </p:sp>
      <p:pic>
        <p:nvPicPr>
          <p:cNvPr id="7" name="Picture 2">
            <a:extLst>
              <a:ext uri="{FF2B5EF4-FFF2-40B4-BE49-F238E27FC236}">
                <a16:creationId xmlns:a16="http://schemas.microsoft.com/office/drawing/2014/main" id="{51118A1C-E05B-4ADC-8D14-B2E2BA27EEE9}"/>
              </a:ext>
            </a:extLst>
          </p:cNvPr>
          <p:cNvPicPr>
            <a:picLocks noChangeAspect="1" noChangeArrowheads="1"/>
          </p:cNvPicPr>
          <p:nvPr userDrawn="1"/>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itle 1">
            <a:extLst>
              <a:ext uri="{FF2B5EF4-FFF2-40B4-BE49-F238E27FC236}">
                <a16:creationId xmlns:a16="http://schemas.microsoft.com/office/drawing/2014/main" id="{15F47D57-D473-4542-AACE-615EB18C6395}"/>
              </a:ext>
            </a:extLst>
          </p:cNvPr>
          <p:cNvSpPr>
            <a:spLocks noGrp="1"/>
          </p:cNvSpPr>
          <p:nvPr>
            <p:ph type="title" hasCustomPrompt="1"/>
          </p:nvPr>
        </p:nvSpPr>
        <p:spPr>
          <a:xfrm>
            <a:off x="685800" y="402276"/>
            <a:ext cx="7200026" cy="296662"/>
          </a:xfrm>
          <a:prstGeom prst="rect">
            <a:avLst/>
          </a:prstGeom>
        </p:spPr>
        <p:txBody>
          <a:bodyPr wrap="square" lIns="0" tIns="0" rIns="0" bIns="0" anchor="t" anchorCtr="0">
            <a:noAutofit/>
          </a:bodyPr>
          <a:lstStyle>
            <a:lvl1pPr algn="l">
              <a:lnSpc>
                <a:spcPts val="2800"/>
              </a:lnSpc>
              <a:defRPr sz="2000" b="0" baseline="0">
                <a:solidFill>
                  <a:srgbClr val="68737A"/>
                </a:solidFill>
              </a:defRPr>
            </a:lvl1pPr>
          </a:lstStyle>
          <a:p>
            <a:r>
              <a:rPr lang="en-US"/>
              <a:t>Click to edit master text style</a:t>
            </a:r>
          </a:p>
        </p:txBody>
      </p:sp>
    </p:spTree>
    <p:extLst>
      <p:ext uri="{BB962C8B-B14F-4D97-AF65-F5344CB8AC3E}">
        <p14:creationId xmlns:p14="http://schemas.microsoft.com/office/powerpoint/2010/main" val="874709358"/>
      </p:ext>
    </p:extLst>
  </p:cSld>
  <p:clrMapOvr>
    <a:masterClrMapping/>
  </p:clrMapOvr>
  <p:extLst>
    <p:ext uri="{DCECCB84-F9BA-43D5-87BE-67443E8EF086}">
      <p15:sldGuideLst xmlns:p15="http://schemas.microsoft.com/office/powerpoint/2012/main">
        <p15:guide id="1" orient="horz" pos="43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srcRect/>
          <a:stretch>
            <a:fillRect/>
          </a:stretch>
        </p:blipFill>
        <p:spPr bwMode="auto">
          <a:xfrm>
            <a:off x="8187690" y="113403"/>
            <a:ext cx="530860" cy="424688"/>
          </a:xfrm>
          <a:prstGeom prst="rect">
            <a:avLst/>
          </a:prstGeom>
          <a:noFill/>
          <a:ln w="9525">
            <a:noFill/>
            <a:miter lim="800000"/>
            <a:headEnd/>
            <a:tailEnd/>
          </a:ln>
          <a:effectLst/>
        </p:spPr>
      </p:pic>
      <p:sp>
        <p:nvSpPr>
          <p:cNvPr id="14" name="Slide Number Placeholder 5"/>
          <p:cNvSpPr txBox="1">
            <a:spLocks/>
          </p:cNvSpPr>
          <p:nvPr/>
        </p:nvSpPr>
        <p:spPr>
          <a:xfrm>
            <a:off x="8563560" y="502976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1">
            <a:extLst>
              <a:ext uri="{FF2B5EF4-FFF2-40B4-BE49-F238E27FC236}">
                <a16:creationId xmlns:a16="http://schemas.microsoft.com/office/drawing/2014/main" id="{FEDBA31E-2D54-5F44-B830-E952E5857F64}"/>
              </a:ext>
            </a:extLst>
          </p:cNvPr>
          <p:cNvSpPr>
            <a:spLocks noGrp="1"/>
          </p:cNvSpPr>
          <p:nvPr>
            <p:ph type="title" hasCustomPrompt="1"/>
          </p:nvPr>
        </p:nvSpPr>
        <p:spPr>
          <a:xfrm>
            <a:off x="685800" y="461529"/>
            <a:ext cx="7200026" cy="296662"/>
          </a:xfrm>
          <a:prstGeom prst="rect">
            <a:avLst/>
          </a:prstGeom>
        </p:spPr>
        <p:txBody>
          <a:bodyPr wrap="square" lIns="0" tIns="0" rIns="0" bIns="0" anchor="t" anchorCtr="0">
            <a:noAutofit/>
          </a:bodyPr>
          <a:lstStyle>
            <a:lvl1pPr algn="l">
              <a:lnSpc>
                <a:spcPts val="2800"/>
              </a:lnSpc>
              <a:defRPr sz="2000" b="0" baseline="0">
                <a:solidFill>
                  <a:srgbClr val="68737A"/>
                </a:solidFill>
              </a:defRPr>
            </a:lvl1pPr>
          </a:lstStyle>
          <a:p>
            <a:r>
              <a:rPr lang="en-US"/>
              <a:t>Click to edit master text style</a:t>
            </a:r>
          </a:p>
        </p:txBody>
      </p:sp>
      <p:pic>
        <p:nvPicPr>
          <p:cNvPr id="10" name="Picture 2"/>
          <p:cNvPicPr>
            <a:picLocks noChangeAspect="1" noChangeArrowheads="1"/>
          </p:cNvPicPr>
          <p:nvPr/>
        </p:nvPicPr>
        <p:blipFill>
          <a:blip r:embed="rId2"/>
          <a:srcRect/>
          <a:stretch>
            <a:fillRect/>
          </a:stretch>
        </p:blipFill>
        <p:spPr bwMode="auto">
          <a:xfrm>
            <a:off x="8187690" y="113403"/>
            <a:ext cx="530860" cy="424688"/>
          </a:xfrm>
          <a:prstGeom prst="rect">
            <a:avLst/>
          </a:prstGeom>
          <a:noFill/>
          <a:ln w="9525">
            <a:noFill/>
            <a:miter lim="800000"/>
            <a:headEnd/>
            <a:tailEnd/>
          </a:ln>
          <a:effectLst/>
        </p:spPr>
      </p:pic>
      <p:sp>
        <p:nvSpPr>
          <p:cNvPr id="12" name="Slide Number Placeholder 5"/>
          <p:cNvSpPr txBox="1">
            <a:spLocks/>
          </p:cNvSpPr>
          <p:nvPr/>
        </p:nvSpPr>
        <p:spPr>
          <a:xfrm>
            <a:off x="8563560" y="502976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Tree>
    <p:extLst>
      <p:ext uri="{BB962C8B-B14F-4D97-AF65-F5344CB8AC3E}">
        <p14:creationId xmlns:p14="http://schemas.microsoft.com/office/powerpoint/2010/main" val="3122206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a:t>
            </a:r>
          </a:p>
        </p:txBody>
      </p:sp>
      <p:sp>
        <p:nvSpPr>
          <p:cNvPr id="9" name="Text Placeholder 4">
            <a:extLst>
              <a:ext uri="{FF2B5EF4-FFF2-40B4-BE49-F238E27FC236}">
                <a16:creationId xmlns:a16="http://schemas.microsoft.com/office/drawing/2014/main" id="{F28394C2-C78C-2F4F-AC8F-D053059C6D1E}"/>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4"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3" name="Content Placeholder 2">
            <a:extLst>
              <a:ext uri="{FF2B5EF4-FFF2-40B4-BE49-F238E27FC236}">
                <a16:creationId xmlns:a16="http://schemas.microsoft.com/office/drawing/2014/main" id="{9DE31ABD-F129-5E41-8007-F49756362679}"/>
              </a:ext>
            </a:extLst>
          </p:cNvPr>
          <p:cNvSpPr>
            <a:spLocks noGrp="1"/>
          </p:cNvSpPr>
          <p:nvPr>
            <p:ph sz="quarter" idx="12"/>
          </p:nvPr>
        </p:nvSpPr>
        <p:spPr>
          <a:xfrm>
            <a:off x="685800" y="1047750"/>
            <a:ext cx="3785038"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35B34382-9CC4-C147-B0F8-E7681434C048}"/>
              </a:ext>
            </a:extLst>
          </p:cNvPr>
          <p:cNvSpPr>
            <a:spLocks noGrp="1"/>
          </p:cNvSpPr>
          <p:nvPr>
            <p:ph sz="quarter" idx="13"/>
          </p:nvPr>
        </p:nvSpPr>
        <p:spPr>
          <a:xfrm>
            <a:off x="4635062" y="1047750"/>
            <a:ext cx="3785038"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28478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a:t>
            </a:r>
          </a:p>
        </p:txBody>
      </p:sp>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1"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3" name="Content Placeholder 2">
            <a:extLst>
              <a:ext uri="{FF2B5EF4-FFF2-40B4-BE49-F238E27FC236}">
                <a16:creationId xmlns:a16="http://schemas.microsoft.com/office/drawing/2014/main" id="{D3C2CD6A-8392-C24F-872D-9F43890124E7}"/>
              </a:ext>
            </a:extLst>
          </p:cNvPr>
          <p:cNvSpPr>
            <a:spLocks noGrp="1"/>
          </p:cNvSpPr>
          <p:nvPr>
            <p:ph sz="quarter" idx="12"/>
          </p:nvPr>
        </p:nvSpPr>
        <p:spPr>
          <a:xfrm>
            <a:off x="685800" y="1047750"/>
            <a:ext cx="1867995"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9C373DC7-FD4B-4F44-AF69-5797EE6FEFEA}"/>
              </a:ext>
            </a:extLst>
          </p:cNvPr>
          <p:cNvSpPr>
            <a:spLocks noGrp="1"/>
          </p:cNvSpPr>
          <p:nvPr>
            <p:ph sz="quarter" idx="13"/>
          </p:nvPr>
        </p:nvSpPr>
        <p:spPr>
          <a:xfrm>
            <a:off x="2688130" y="1047750"/>
            <a:ext cx="1867995"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F3477A4-D10B-6245-96C3-3DC9EF2562A4}"/>
              </a:ext>
            </a:extLst>
          </p:cNvPr>
          <p:cNvSpPr>
            <a:spLocks noGrp="1"/>
          </p:cNvSpPr>
          <p:nvPr>
            <p:ph sz="quarter" idx="14"/>
          </p:nvPr>
        </p:nvSpPr>
        <p:spPr>
          <a:xfrm>
            <a:off x="4690460" y="1047750"/>
            <a:ext cx="3729640"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1583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E97C1E-5D03-B74B-8E0A-279962218740}"/>
              </a:ext>
            </a:extLst>
          </p:cNvPr>
          <p:cNvPicPr>
            <a:picLocks noChangeAspect="1"/>
          </p:cNvPicPr>
          <p:nvPr userDrawn="1"/>
        </p:nvPicPr>
        <p:blipFill rotWithShape="1">
          <a:blip r:embed="rId2"/>
          <a:srcRect t="35907" b="5105"/>
          <a:stretch/>
        </p:blipFill>
        <p:spPr>
          <a:xfrm>
            <a:off x="0" y="2109458"/>
            <a:ext cx="9144000" cy="3034042"/>
          </a:xfrm>
          <a:prstGeom prst="rect">
            <a:avLst/>
          </a:prstGeom>
        </p:spPr>
      </p:pic>
      <p:sp>
        <p:nvSpPr>
          <p:cNvPr id="3" name="Text Placeholder 2"/>
          <p:cNvSpPr>
            <a:spLocks noGrp="1"/>
          </p:cNvSpPr>
          <p:nvPr>
            <p:ph type="body" idx="1" hasCustomPrompt="1"/>
          </p:nvPr>
        </p:nvSpPr>
        <p:spPr>
          <a:xfrm>
            <a:off x="685800" y="1184973"/>
            <a:ext cx="7734302" cy="325069"/>
          </a:xfrm>
          <a:prstGeom prst="rect">
            <a:avLst/>
          </a:prstGeom>
        </p:spPr>
        <p:txBody>
          <a:bodyPr wrap="square" lIns="18288" tIns="0" rIns="0" bIns="0" anchor="t" anchorCtr="0">
            <a:noAutofit/>
          </a:bodyPr>
          <a:lstStyle>
            <a:lvl1pPr marL="0" indent="0">
              <a:lnSpc>
                <a:spcPts val="2000"/>
              </a:lnSpc>
              <a:spcBef>
                <a:spcPts val="0"/>
              </a:spcBef>
              <a:buNone/>
              <a:defRPr sz="18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a:t>
            </a:r>
          </a:p>
        </p:txBody>
      </p:sp>
      <p:sp>
        <p:nvSpPr>
          <p:cNvPr id="2" name="Title 1"/>
          <p:cNvSpPr>
            <a:spLocks noGrp="1"/>
          </p:cNvSpPr>
          <p:nvPr>
            <p:ph type="title" hasCustomPrompt="1"/>
          </p:nvPr>
        </p:nvSpPr>
        <p:spPr>
          <a:xfrm>
            <a:off x="685800" y="1510042"/>
            <a:ext cx="7734300" cy="1061708"/>
          </a:xfrm>
          <a:prstGeom prst="rect">
            <a:avLst/>
          </a:prstGeom>
        </p:spPr>
        <p:txBody>
          <a:bodyPr wrap="square" lIns="0" tIns="0" rIns="0" bIns="0" anchor="t">
            <a:noAutofit/>
          </a:bodyPr>
          <a:lstStyle>
            <a:lvl1pPr algn="l">
              <a:lnSpc>
                <a:spcPts val="3400"/>
              </a:lnSpc>
              <a:defRPr sz="3000" b="0" cap="none">
                <a:solidFill>
                  <a:srgbClr val="68737A"/>
                </a:solidFill>
              </a:defRPr>
            </a:lvl1pPr>
          </a:lstStyle>
          <a:p>
            <a:r>
              <a:rPr lang="en-US" dirty="0"/>
              <a:t>Click to edit master text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2592"/>
          </a:xfrm>
          <a:prstGeom prst="rect">
            <a:avLst/>
          </a:prstGeom>
        </p:spPr>
        <p:txBody>
          <a:bodyPr vert="horz" wrap="squar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a:t>
            </a:r>
          </a:p>
        </p:txBody>
      </p:sp>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1"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Slide Number Placeholder 5"/>
          <p:cNvSpPr txBox="1">
            <a:spLocks/>
          </p:cNvSpPr>
          <p:nvPr/>
        </p:nvSpPr>
        <p:spPr>
          <a:xfrm>
            <a:off x="8563560" y="4821774"/>
            <a:ext cx="154990" cy="102592"/>
          </a:xfrm>
          <a:prstGeom prst="rect">
            <a:avLst/>
          </a:prstGeom>
        </p:spPr>
        <p:txBody>
          <a:bodyPr vert="horz" wrap="squar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24" name="Text Placeholder 23">
            <a:extLst>
              <a:ext uri="{FF2B5EF4-FFF2-40B4-BE49-F238E27FC236}">
                <a16:creationId xmlns:a16="http://schemas.microsoft.com/office/drawing/2014/main" id="{37BD72D8-176B-F640-B53D-6FA5654F6B22}"/>
              </a:ext>
            </a:extLst>
          </p:cNvPr>
          <p:cNvSpPr>
            <a:spLocks noGrp="1"/>
          </p:cNvSpPr>
          <p:nvPr>
            <p:ph type="body" sz="quarter" idx="12"/>
          </p:nvPr>
        </p:nvSpPr>
        <p:spPr>
          <a:xfrm>
            <a:off x="685801" y="1047751"/>
            <a:ext cx="1197238" cy="317009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86E8D891-84BA-1B47-95B7-EDFC5290E782}"/>
              </a:ext>
            </a:extLst>
          </p:cNvPr>
          <p:cNvSpPr>
            <a:spLocks noGrp="1"/>
          </p:cNvSpPr>
          <p:nvPr>
            <p:ph type="body" sz="quarter" idx="13"/>
          </p:nvPr>
        </p:nvSpPr>
        <p:spPr>
          <a:xfrm>
            <a:off x="1989699" y="1047750"/>
            <a:ext cx="1197238" cy="3170099"/>
          </a:xfrm>
        </p:spPr>
        <p:txBody>
          <a:bodyPr>
            <a:spAutoFit/>
          </a:bodyPr>
          <a:lstStyle>
            <a:lvl1pPr>
              <a:defRPr/>
            </a:lvl1pPr>
            <a:lvl2pPr>
              <a:defRPr/>
            </a:lvl2pPr>
            <a:lvl5pPr marL="69056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9">
            <a:extLst>
              <a:ext uri="{FF2B5EF4-FFF2-40B4-BE49-F238E27FC236}">
                <a16:creationId xmlns:a16="http://schemas.microsoft.com/office/drawing/2014/main" id="{D658F0FF-13D4-9D4D-9E3A-70ED2DFA1353}"/>
              </a:ext>
            </a:extLst>
          </p:cNvPr>
          <p:cNvSpPr>
            <a:spLocks noGrp="1"/>
          </p:cNvSpPr>
          <p:nvPr>
            <p:ph type="body" sz="quarter" idx="14"/>
          </p:nvPr>
        </p:nvSpPr>
        <p:spPr>
          <a:xfrm>
            <a:off x="3293597"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1">
            <a:extLst>
              <a:ext uri="{FF2B5EF4-FFF2-40B4-BE49-F238E27FC236}">
                <a16:creationId xmlns:a16="http://schemas.microsoft.com/office/drawing/2014/main" id="{4C9D8122-75C2-8848-AECF-2047913B90FF}"/>
              </a:ext>
            </a:extLst>
          </p:cNvPr>
          <p:cNvSpPr>
            <a:spLocks noGrp="1"/>
          </p:cNvSpPr>
          <p:nvPr>
            <p:ph type="body" sz="quarter" idx="15"/>
          </p:nvPr>
        </p:nvSpPr>
        <p:spPr>
          <a:xfrm>
            <a:off x="4597495"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CEC3704E-D093-D14E-BB99-D08DFA76D02C}"/>
              </a:ext>
            </a:extLst>
          </p:cNvPr>
          <p:cNvSpPr>
            <a:spLocks noGrp="1"/>
          </p:cNvSpPr>
          <p:nvPr>
            <p:ph type="body" sz="quarter" idx="16"/>
          </p:nvPr>
        </p:nvSpPr>
        <p:spPr>
          <a:xfrm>
            <a:off x="5901393"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5">
            <a:extLst>
              <a:ext uri="{FF2B5EF4-FFF2-40B4-BE49-F238E27FC236}">
                <a16:creationId xmlns:a16="http://schemas.microsoft.com/office/drawing/2014/main" id="{F8C4D134-FCE9-5E4E-955C-46AC0C52F164}"/>
              </a:ext>
            </a:extLst>
          </p:cNvPr>
          <p:cNvSpPr>
            <a:spLocks noGrp="1"/>
          </p:cNvSpPr>
          <p:nvPr>
            <p:ph type="body" sz="quarter" idx="17"/>
          </p:nvPr>
        </p:nvSpPr>
        <p:spPr>
          <a:xfrm>
            <a:off x="7205292"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11110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ong Title and Content 1">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8" name="Text Placeholder 4">
            <a:extLst>
              <a:ext uri="{FF2B5EF4-FFF2-40B4-BE49-F238E27FC236}">
                <a16:creationId xmlns:a16="http://schemas.microsoft.com/office/drawing/2014/main" id="{986811D3-7A07-9242-BAFA-E533DF084A53}"/>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BB969646-FFB4-7148-AB89-00E0182AA3AB}"/>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0"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3"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4" name="Content Placeholder 3">
            <a:extLst>
              <a:ext uri="{FF2B5EF4-FFF2-40B4-BE49-F238E27FC236}">
                <a16:creationId xmlns:a16="http://schemas.microsoft.com/office/drawing/2014/main" id="{ADC45F45-3A74-5D44-A3B4-411EF61867CF}"/>
              </a:ext>
            </a:extLst>
          </p:cNvPr>
          <p:cNvSpPr>
            <a:spLocks noGrp="1"/>
          </p:cNvSpPr>
          <p:nvPr>
            <p:ph sz="quarter" idx="12"/>
          </p:nvPr>
        </p:nvSpPr>
        <p:spPr>
          <a:xfrm>
            <a:off x="685800" y="1495425"/>
            <a:ext cx="7734300"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9332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ong Title Only">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EAFFD62-5278-7246-A35D-5D648DE8922F}"/>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Tree>
    <p:extLst>
      <p:ext uri="{BB962C8B-B14F-4D97-AF65-F5344CB8AC3E}">
        <p14:creationId xmlns:p14="http://schemas.microsoft.com/office/powerpoint/2010/main" val="32215221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ong Title and Content 2">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9" name="Text Placeholder 4">
            <a:extLst>
              <a:ext uri="{FF2B5EF4-FFF2-40B4-BE49-F238E27FC236}">
                <a16:creationId xmlns:a16="http://schemas.microsoft.com/office/drawing/2014/main" id="{F28394C2-C78C-2F4F-AC8F-D053059C6D1E}"/>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91B453D8-2CCB-F349-B3C5-71DED3B1E67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7" name="Content Placeholder 3">
            <a:extLst>
              <a:ext uri="{FF2B5EF4-FFF2-40B4-BE49-F238E27FC236}">
                <a16:creationId xmlns:a16="http://schemas.microsoft.com/office/drawing/2014/main" id="{8A98B763-528D-1E4B-A9C3-DD74A48A59F6}"/>
              </a:ext>
            </a:extLst>
          </p:cNvPr>
          <p:cNvSpPr>
            <a:spLocks noGrp="1"/>
          </p:cNvSpPr>
          <p:nvPr>
            <p:ph sz="quarter" idx="12"/>
          </p:nvPr>
        </p:nvSpPr>
        <p:spPr>
          <a:xfrm>
            <a:off x="685800" y="1495425"/>
            <a:ext cx="3785038"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a:extLst>
              <a:ext uri="{FF2B5EF4-FFF2-40B4-BE49-F238E27FC236}">
                <a16:creationId xmlns:a16="http://schemas.microsoft.com/office/drawing/2014/main" id="{EFDE8B11-E622-B545-B01E-737D424EB055}"/>
              </a:ext>
            </a:extLst>
          </p:cNvPr>
          <p:cNvSpPr>
            <a:spLocks noGrp="1"/>
          </p:cNvSpPr>
          <p:nvPr>
            <p:ph sz="quarter" idx="13"/>
          </p:nvPr>
        </p:nvSpPr>
        <p:spPr>
          <a:xfrm>
            <a:off x="4635062" y="1495424"/>
            <a:ext cx="3785038"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07868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ong 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ABE388AB-E1A4-DF49-B427-39341F88605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8" name="Content Placeholder 2">
            <a:extLst>
              <a:ext uri="{FF2B5EF4-FFF2-40B4-BE49-F238E27FC236}">
                <a16:creationId xmlns:a16="http://schemas.microsoft.com/office/drawing/2014/main" id="{1CE9CD11-24D5-214C-B6BE-3B675237F2F4}"/>
              </a:ext>
            </a:extLst>
          </p:cNvPr>
          <p:cNvSpPr>
            <a:spLocks noGrp="1"/>
          </p:cNvSpPr>
          <p:nvPr>
            <p:ph sz="quarter" idx="12"/>
          </p:nvPr>
        </p:nvSpPr>
        <p:spPr>
          <a:xfrm>
            <a:off x="685800" y="1495424"/>
            <a:ext cx="1867995"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ACE83162-7C8C-2D44-BE4C-956F0CA0C579}"/>
              </a:ext>
            </a:extLst>
          </p:cNvPr>
          <p:cNvSpPr>
            <a:spLocks noGrp="1"/>
          </p:cNvSpPr>
          <p:nvPr>
            <p:ph sz="quarter" idx="13"/>
          </p:nvPr>
        </p:nvSpPr>
        <p:spPr>
          <a:xfrm>
            <a:off x="2688130" y="1495424"/>
            <a:ext cx="1867995"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B97221F4-86E2-D340-8769-E91E636C145C}"/>
              </a:ext>
            </a:extLst>
          </p:cNvPr>
          <p:cNvSpPr>
            <a:spLocks noGrp="1"/>
          </p:cNvSpPr>
          <p:nvPr>
            <p:ph sz="quarter" idx="14"/>
          </p:nvPr>
        </p:nvSpPr>
        <p:spPr>
          <a:xfrm>
            <a:off x="4690460" y="1495424"/>
            <a:ext cx="3729640"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0193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ong Title and Content 4">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ABE388AB-E1A4-DF49-B427-39341F88605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Text Placeholder 23">
            <a:extLst>
              <a:ext uri="{FF2B5EF4-FFF2-40B4-BE49-F238E27FC236}">
                <a16:creationId xmlns:a16="http://schemas.microsoft.com/office/drawing/2014/main" id="{A523E239-1D7F-9048-8FD6-4E5A8353F604}"/>
              </a:ext>
            </a:extLst>
          </p:cNvPr>
          <p:cNvSpPr>
            <a:spLocks noGrp="1"/>
          </p:cNvSpPr>
          <p:nvPr>
            <p:ph type="body" sz="quarter" idx="12"/>
          </p:nvPr>
        </p:nvSpPr>
        <p:spPr>
          <a:xfrm>
            <a:off x="685801" y="1495425"/>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19273D99-9830-D345-80C1-21410D674971}"/>
              </a:ext>
            </a:extLst>
          </p:cNvPr>
          <p:cNvSpPr>
            <a:spLocks noGrp="1"/>
          </p:cNvSpPr>
          <p:nvPr>
            <p:ph type="body" sz="quarter" idx="13"/>
          </p:nvPr>
        </p:nvSpPr>
        <p:spPr>
          <a:xfrm>
            <a:off x="1989699"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9">
            <a:extLst>
              <a:ext uri="{FF2B5EF4-FFF2-40B4-BE49-F238E27FC236}">
                <a16:creationId xmlns:a16="http://schemas.microsoft.com/office/drawing/2014/main" id="{AC6D3C91-9ECB-CB46-BE75-06FFB359375B}"/>
              </a:ext>
            </a:extLst>
          </p:cNvPr>
          <p:cNvSpPr>
            <a:spLocks noGrp="1"/>
          </p:cNvSpPr>
          <p:nvPr>
            <p:ph type="body" sz="quarter" idx="14"/>
          </p:nvPr>
        </p:nvSpPr>
        <p:spPr>
          <a:xfrm>
            <a:off x="3293597"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1">
            <a:extLst>
              <a:ext uri="{FF2B5EF4-FFF2-40B4-BE49-F238E27FC236}">
                <a16:creationId xmlns:a16="http://schemas.microsoft.com/office/drawing/2014/main" id="{7722FB60-71AB-AB45-A465-0EC228C7998B}"/>
              </a:ext>
            </a:extLst>
          </p:cNvPr>
          <p:cNvSpPr>
            <a:spLocks noGrp="1"/>
          </p:cNvSpPr>
          <p:nvPr>
            <p:ph type="body" sz="quarter" idx="15"/>
          </p:nvPr>
        </p:nvSpPr>
        <p:spPr>
          <a:xfrm>
            <a:off x="4597495"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33">
            <a:extLst>
              <a:ext uri="{FF2B5EF4-FFF2-40B4-BE49-F238E27FC236}">
                <a16:creationId xmlns:a16="http://schemas.microsoft.com/office/drawing/2014/main" id="{652AE153-B7D8-984E-AB0A-ADF2B07D2AFA}"/>
              </a:ext>
            </a:extLst>
          </p:cNvPr>
          <p:cNvSpPr>
            <a:spLocks noGrp="1"/>
          </p:cNvSpPr>
          <p:nvPr>
            <p:ph type="body" sz="quarter" idx="16"/>
          </p:nvPr>
        </p:nvSpPr>
        <p:spPr>
          <a:xfrm>
            <a:off x="5901393"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35">
            <a:extLst>
              <a:ext uri="{FF2B5EF4-FFF2-40B4-BE49-F238E27FC236}">
                <a16:creationId xmlns:a16="http://schemas.microsoft.com/office/drawing/2014/main" id="{E2E49344-BD5D-1342-B403-D3C27D813409}"/>
              </a:ext>
            </a:extLst>
          </p:cNvPr>
          <p:cNvSpPr>
            <a:spLocks noGrp="1"/>
          </p:cNvSpPr>
          <p:nvPr>
            <p:ph type="body" sz="quarter" idx="17"/>
          </p:nvPr>
        </p:nvSpPr>
        <p:spPr>
          <a:xfrm>
            <a:off x="7205292"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78183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ong 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userDrawn="1"/>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userDrawn="1"/>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Tree>
    <p:extLst>
      <p:ext uri="{BB962C8B-B14F-4D97-AF65-F5344CB8AC3E}">
        <p14:creationId xmlns:p14="http://schemas.microsoft.com/office/powerpoint/2010/main" val="26363787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8832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88581" y="2025146"/>
            <a:ext cx="3522806" cy="725199"/>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9932" y="2025146"/>
            <a:ext cx="3524250" cy="725199"/>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21"/>
          <p:cNvSpPr>
            <a:spLocks noGrp="1" noChangeArrowheads="1"/>
          </p:cNvSpPr>
          <p:nvPr>
            <p:ph type="ftr" sz="quarter" idx="10"/>
          </p:nvPr>
        </p:nvSpPr>
        <p:spPr>
          <a:ln/>
        </p:spPr>
        <p:txBody>
          <a:bodyPr/>
          <a:lstStyle>
            <a:lvl1pPr>
              <a:defRPr/>
            </a:lvl1pPr>
          </a:lstStyle>
          <a:p>
            <a:pPr>
              <a:defRPr/>
            </a:pPr>
            <a:r>
              <a:rPr lang="en-GB" altLang="en-US" dirty="0"/>
              <a:t>PCA CONFIDENTIAL</a:t>
            </a:r>
          </a:p>
        </p:txBody>
      </p:sp>
      <p:sp>
        <p:nvSpPr>
          <p:cNvPr id="6" name="Rectangle 17"/>
          <p:cNvSpPr>
            <a:spLocks noGrp="1" noChangeArrowheads="1"/>
          </p:cNvSpPr>
          <p:nvPr>
            <p:ph type="sldNum" sz="quarter" idx="11"/>
          </p:nvPr>
        </p:nvSpPr>
        <p:spPr>
          <a:ln/>
        </p:spPr>
        <p:txBody>
          <a:bodyPr/>
          <a:lstStyle>
            <a:lvl1pPr>
              <a:defRPr/>
            </a:lvl1pPr>
          </a:lstStyle>
          <a:p>
            <a:fld id="{C5C9EA94-E5A4-4798-8D91-85F34DB821CB}" type="slidenum">
              <a:rPr lang="en-GB" altLang="en-US"/>
              <a:pPr/>
              <a:t>‹#›</a:t>
            </a:fld>
            <a:endParaRPr lang="en-GB" altLang="en-US" dirty="0"/>
          </a:p>
        </p:txBody>
      </p:sp>
    </p:spTree>
    <p:extLst>
      <p:ext uri="{BB962C8B-B14F-4D97-AF65-F5344CB8AC3E}">
        <p14:creationId xmlns:p14="http://schemas.microsoft.com/office/powerpoint/2010/main" val="17315304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fidential Content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32A8EA7-2E07-496F-A869-A52BD0753982}"/>
              </a:ext>
            </a:extLst>
          </p:cNvPr>
          <p:cNvSpPr/>
          <p:nvPr userDrawn="1"/>
        </p:nvSpPr>
        <p:spPr>
          <a:xfrm>
            <a:off x="8627871" y="4806085"/>
            <a:ext cx="319318" cy="230832"/>
          </a:xfrm>
          <a:prstGeom prst="rect">
            <a:avLst/>
          </a:prstGeom>
        </p:spPr>
        <p:txBody>
          <a:bodyPr wrap="none">
            <a:spAutoFit/>
          </a:bodyPr>
          <a:lstStyle/>
          <a:p>
            <a:fld id="{10DFC9CA-1BAE-4C20-BC6F-FAF78A68BFFE}" type="slidenum">
              <a:rPr kumimoji="0" lang="en-US" sz="900" b="0" i="0" u="none" strike="noStrike" kern="1200" cap="none" spc="0" normalizeH="0" baseline="0" noProof="0" smtClean="0">
                <a:ln>
                  <a:noFill/>
                </a:ln>
                <a:solidFill>
                  <a:srgbClr val="68737A"/>
                </a:solidFill>
                <a:effectLst/>
                <a:uLnTx/>
                <a:uFillTx/>
                <a:latin typeface="+mn-lt"/>
                <a:ea typeface="+mn-ea"/>
                <a:cs typeface="+mn-cs"/>
              </a:rPr>
              <a:t>‹#›</a:t>
            </a:fld>
            <a:endParaRPr lang="en-US" sz="900" dirty="0">
              <a:latin typeface="+mn-lt"/>
            </a:endParaRPr>
          </a:p>
        </p:txBody>
      </p:sp>
    </p:spTree>
    <p:extLst>
      <p:ext uri="{BB962C8B-B14F-4D97-AF65-F5344CB8AC3E}">
        <p14:creationId xmlns:p14="http://schemas.microsoft.com/office/powerpoint/2010/main" val="169379303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461529"/>
            <a:ext cx="7200026" cy="296662"/>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pic>
        <p:nvPicPr>
          <p:cNvPr id="8"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1"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sp>
        <p:nvSpPr>
          <p:cNvPr id="9" name="Text Placeholder 4">
            <a:extLst>
              <a:ext uri="{FF2B5EF4-FFF2-40B4-BE49-F238E27FC236}">
                <a16:creationId xmlns:a16="http://schemas.microsoft.com/office/drawing/2014/main" id="{A1F4906D-0223-E04B-8578-CF01B3F1929F}"/>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pic>
        <p:nvPicPr>
          <p:cNvPr id="10"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sp>
        <p:nvSpPr>
          <p:cNvPr id="16" name="Content Placeholder 15">
            <a:extLst>
              <a:ext uri="{FF2B5EF4-FFF2-40B4-BE49-F238E27FC236}">
                <a16:creationId xmlns:a16="http://schemas.microsoft.com/office/drawing/2014/main" id="{1D6298DA-E31F-2F40-A903-04C7B5D5DAC6}"/>
              </a:ext>
            </a:extLst>
          </p:cNvPr>
          <p:cNvSpPr>
            <a:spLocks noGrp="1"/>
          </p:cNvSpPr>
          <p:nvPr>
            <p:ph sz="quarter" idx="10"/>
          </p:nvPr>
        </p:nvSpPr>
        <p:spPr/>
        <p:txBody>
          <a:bodyPr/>
          <a:lst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lvl1pPr>
            <a:lvl2pPr marL="347472" marR="0" indent="-171450" algn="l" defTabSz="457200" rtl="0" eaLnBrk="1" fontAlgn="auto" latinLnBrk="0" hangingPunct="1">
              <a:lnSpc>
                <a:spcPct val="100000"/>
              </a:lnSpc>
              <a:spcBef>
                <a:spcPts val="0"/>
              </a:spcBef>
              <a:spcAft>
                <a:spcPts val="600"/>
              </a:spcAft>
              <a:buClrTx/>
              <a:buSzTx/>
              <a:buFont typeface="System Font Regular"/>
              <a:buChar char="–"/>
              <a:tabLst/>
              <a:defRPr/>
            </a:lvl2pPr>
            <a:lvl3pPr marL="521208" marR="0" indent="-171450" algn="l" defTabSz="457200" rtl="0" eaLnBrk="1" fontAlgn="auto" latinLnBrk="0" hangingPunct="1">
              <a:lnSpc>
                <a:spcPct val="100000"/>
              </a:lnSpc>
              <a:spcBef>
                <a:spcPts val="0"/>
              </a:spcBef>
              <a:spcAft>
                <a:spcPts val="600"/>
              </a:spcAft>
              <a:buClrTx/>
              <a:buSzTx/>
              <a:buFont typeface="Courier New" panose="020F0502020204030204" pitchFamily="34" charset="0"/>
              <a:buChar char="o"/>
              <a:tabLst/>
              <a:defRPr/>
            </a:lvl3pPr>
            <a:lvl4pPr marL="694944" marR="0" indent="-171450" algn="l" defTabSz="173736" rtl="0" eaLnBrk="1" fontAlgn="auto" latinLnBrk="0" hangingPunct="1">
              <a:lnSpc>
                <a:spcPct val="100000"/>
              </a:lnSpc>
              <a:spcBef>
                <a:spcPts val="0"/>
              </a:spcBef>
              <a:spcAft>
                <a:spcPts val="600"/>
              </a:spcAft>
              <a:buClrTx/>
              <a:buSzTx/>
              <a:buFont typeface="Wingdings" pitchFamily="2" charset="2"/>
              <a:buChar char="Ø"/>
              <a:tabLst/>
              <a:defRPr/>
            </a:lvl4pPr>
            <a:lvl5pPr marL="868680" marR="0" indent="-169863" algn="l" defTabSz="457200" rtl="0" eaLnBrk="1" fontAlgn="auto" latinLnBrk="0" hangingPunct="1">
              <a:lnSpc>
                <a:spcPct val="100000"/>
              </a:lnSpc>
              <a:spcBef>
                <a:spcPts val="0"/>
              </a:spcBef>
              <a:spcAft>
                <a:spcPts val="600"/>
              </a:spcAft>
              <a:buClrTx/>
              <a:buSzTx/>
              <a:buFont typeface="Wingdings" pitchFamily="2" charset="2"/>
              <a:buChar char="§"/>
              <a:tabLst/>
              <a:defRPr/>
            </a:lvl5pPr>
            <a:lvl6pPr marL="1042416" marR="0" indent="-171450" algn="l" defTabSz="457200" rtl="0" eaLnBrk="1" fontAlgn="auto" latinLnBrk="0" hangingPunct="1">
              <a:lnSpc>
                <a:spcPct val="100000"/>
              </a:lnSpc>
              <a:spcBef>
                <a:spcPts val="0"/>
              </a:spcBef>
              <a:spcAft>
                <a:spcPts val="600"/>
              </a:spcAft>
              <a:buClrTx/>
              <a:buSzTx/>
              <a:buFont typeface="Arial"/>
              <a:buChar char="•"/>
              <a:tabLst/>
              <a:defRPr/>
            </a:lvl6p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Click to edit Master text styles</a:t>
            </a:r>
          </a:p>
          <a:p>
            <a:pPr marL="171450" marR="0" lvl="1"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Second level</a:t>
            </a:r>
          </a:p>
          <a:p>
            <a:pPr marL="171450" marR="0" lvl="2"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Third level</a:t>
            </a:r>
          </a:p>
          <a:p>
            <a:pPr marL="171450" marR="0" lvl="3"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Fourth level</a:t>
            </a:r>
          </a:p>
          <a:p>
            <a:pPr marL="171450" marR="0" lvl="4"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Fifth level</a:t>
            </a:r>
            <a:endParaRPr kumimoji="0" lang="en-US" sz="900" b="0" i="0" u="none" strike="noStrike" kern="1200" cap="none" spc="0" normalizeH="0" baseline="0" noProof="0" dirty="0">
              <a:ln>
                <a:noFill/>
              </a:ln>
              <a:solidFill>
                <a:srgbClr val="687379"/>
              </a:solidFill>
              <a:effectLst/>
              <a:uLnTx/>
              <a:uFillTx/>
              <a:latin typeface="+mn-lt"/>
              <a:ea typeface="+mn-ea"/>
              <a:cs typeface="+mn-cs"/>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2" name="Title 1"/>
          <p:cNvSpPr>
            <a:spLocks noGrp="1"/>
          </p:cNvSpPr>
          <p:nvPr>
            <p:ph type="title"/>
          </p:nvPr>
        </p:nvSpPr>
        <p:spPr>
          <a:xfrm>
            <a:off x="358776" y="339329"/>
            <a:ext cx="6880224" cy="379809"/>
          </a:xfrm>
        </p:spPr>
        <p:txBody>
          <a:bodyPr lIns="0" tIns="0" rIns="0" bIns="0" anchor="ctr" anchorCtr="0">
            <a:noAutofit/>
          </a:bodyPr>
          <a:lstStyle>
            <a:lvl1pPr marL="0" marR="0" indent="0" algn="l" defTabSz="342900" rtl="0" eaLnBrk="1" fontAlgn="auto" latinLnBrk="0" hangingPunct="1">
              <a:lnSpc>
                <a:spcPct val="100000"/>
              </a:lnSpc>
              <a:spcBef>
                <a:spcPct val="0"/>
              </a:spcBef>
              <a:spcAft>
                <a:spcPts val="0"/>
              </a:spcAft>
              <a:buClrTx/>
              <a:buSzTx/>
              <a:buFontTx/>
              <a:buNone/>
              <a:tabLst/>
              <a:defRPr sz="2100" b="1" i="0">
                <a:solidFill>
                  <a:srgbClr val="E21D33"/>
                </a:solidFill>
                <a:latin typeface="Calibri"/>
                <a:cs typeface="Calibri"/>
              </a:defRPr>
            </a:lvl1pPr>
          </a:lstStyle>
          <a:p>
            <a:r>
              <a:rPr lang="en-GB"/>
              <a:t>Click to edit Master title style</a:t>
            </a:r>
            <a:endParaRPr lang="en-US"/>
          </a:p>
        </p:txBody>
      </p:sp>
      <p:sp>
        <p:nvSpPr>
          <p:cNvPr id="3" name="Content Placeholder 2"/>
          <p:cNvSpPr>
            <a:spLocks noGrp="1"/>
          </p:cNvSpPr>
          <p:nvPr>
            <p:ph idx="1"/>
          </p:nvPr>
        </p:nvSpPr>
        <p:spPr>
          <a:xfrm>
            <a:off x="373064" y="1087039"/>
            <a:ext cx="8417407" cy="3561161"/>
          </a:xfrm>
        </p:spPr>
        <p:txBody>
          <a:bodyPr lIns="0" tIns="0" rIns="0" bIns="0"/>
          <a:lstStyle>
            <a:lvl1pPr>
              <a:spcBef>
                <a:spcPts val="0"/>
              </a:spcBef>
              <a:spcAft>
                <a:spcPts val="1800"/>
              </a:spcAft>
              <a:defRPr sz="1950" b="0" i="0">
                <a:latin typeface="Calibri"/>
                <a:cs typeface="Calibri"/>
              </a:defRPr>
            </a:lvl1pPr>
            <a:lvl2pPr>
              <a:spcBef>
                <a:spcPts val="0"/>
              </a:spcBef>
              <a:spcAft>
                <a:spcPts val="1800"/>
              </a:spcAft>
              <a:defRPr sz="1500" b="0" i="0">
                <a:latin typeface="Calibri"/>
                <a:cs typeface="Calibri"/>
              </a:defRPr>
            </a:lvl2pPr>
            <a:lvl3pPr>
              <a:spcBef>
                <a:spcPts val="0"/>
              </a:spcBef>
              <a:spcAft>
                <a:spcPts val="1800"/>
              </a:spcAft>
              <a:defRPr sz="1500" b="0" i="0">
                <a:latin typeface="Calibri"/>
                <a:cs typeface="Calibri"/>
              </a:defRPr>
            </a:lvl3pPr>
            <a:lvl4pPr>
              <a:defRPr sz="1500" b="0" i="0">
                <a:latin typeface="Calibri"/>
                <a:cs typeface="Calibri"/>
              </a:defRPr>
            </a:lvl4pPr>
            <a:lvl5pPr>
              <a:defRPr sz="1500" b="0" i="0">
                <a:latin typeface="Calibri"/>
                <a:cs typeface="Calibri"/>
              </a:defRPr>
            </a:lvl5pPr>
          </a:lstStyle>
          <a:p>
            <a:pPr lvl="0"/>
            <a:r>
              <a:rPr lang="en-GB"/>
              <a:t>Click to edit Master text styles</a:t>
            </a:r>
          </a:p>
          <a:p>
            <a:pPr lvl="1"/>
            <a:r>
              <a:rPr lang="en-GB"/>
              <a:t>Second level</a:t>
            </a:r>
          </a:p>
          <a:p>
            <a:pPr lvl="2"/>
            <a:r>
              <a:rPr lang="en-GB"/>
              <a:t>Third level</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B07F7B8-C24D-1B41-9BEC-30948AEBA532}" type="slidenum">
              <a:rPr lang="en-US" smtClean="0"/>
              <a:t>‹#›</a:t>
            </a:fld>
            <a:endParaRPr lang="en-US" dirty="0"/>
          </a:p>
        </p:txBody>
      </p:sp>
      <p:pic>
        <p:nvPicPr>
          <p:cNvPr id="9" name="Picture 8"/>
          <p:cNvPicPr>
            <a:picLocks noChangeAspect="1"/>
          </p:cNvPicPr>
          <p:nvPr userDrawn="1"/>
        </p:nvPicPr>
        <p:blipFill>
          <a:blip r:embed="rId2"/>
          <a:stretch>
            <a:fillRect/>
          </a:stretch>
        </p:blipFill>
        <p:spPr>
          <a:xfrm>
            <a:off x="8013700" y="287179"/>
            <a:ext cx="755650" cy="453390"/>
          </a:xfrm>
          <a:prstGeom prst="rect">
            <a:avLst/>
          </a:prstGeom>
        </p:spPr>
      </p:pic>
    </p:spTree>
    <p:extLst>
      <p:ext uri="{BB962C8B-B14F-4D97-AF65-F5344CB8AC3E}">
        <p14:creationId xmlns:p14="http://schemas.microsoft.com/office/powerpoint/2010/main" val="14976375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7" name="Slide Number Placeholder 5"/>
          <p:cNvSpPr txBox="1">
            <a:spLocks/>
          </p:cNvSpPr>
          <p:nvPr userDrawn="1"/>
        </p:nvSpPr>
        <p:spPr>
          <a:xfrm>
            <a:off x="8529290" y="5015121"/>
            <a:ext cx="153889" cy="66685"/>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257169" rtl="0" eaLnBrk="1" fontAlgn="auto" latinLnBrk="0" hangingPunct="1">
              <a:lnSpc>
                <a:spcPts val="45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chemeClr val="tx1">
                    <a:lumMod val="75000"/>
                  </a:schemeClr>
                </a:solidFill>
                <a:effectLst/>
                <a:uLnTx/>
                <a:uFillTx/>
                <a:latin typeface="Verdana"/>
                <a:ea typeface="+mn-ea"/>
                <a:cs typeface="+mn-cs"/>
              </a:rPr>
              <a:pPr marL="0" marR="0" lvl="0" indent="0" algn="r" defTabSz="257169" rtl="0" eaLnBrk="1" fontAlgn="auto" latinLnBrk="0" hangingPunct="1">
                <a:lnSpc>
                  <a:spcPts val="45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chemeClr val="tx1">
                  <a:lumMod val="75000"/>
                </a:schemeClr>
              </a:solidFill>
              <a:effectLst/>
              <a:uLnTx/>
              <a:uFillTx/>
              <a:latin typeface="Verdana"/>
              <a:ea typeface="+mn-ea"/>
              <a:cs typeface="+mn-cs"/>
            </a:endParaRPr>
          </a:p>
        </p:txBody>
      </p:sp>
      <p:pic>
        <p:nvPicPr>
          <p:cNvPr id="7" name="Picture 2">
            <a:extLst>
              <a:ext uri="{FF2B5EF4-FFF2-40B4-BE49-F238E27FC236}">
                <a16:creationId xmlns:a16="http://schemas.microsoft.com/office/drawing/2014/main" id="{51118A1C-E05B-4ADC-8D14-B2E2BA27EEE9}"/>
              </a:ext>
            </a:extLst>
          </p:cNvPr>
          <p:cNvPicPr>
            <a:picLocks noChangeAspect="1" noChangeArrowheads="1"/>
          </p:cNvPicPr>
          <p:nvPr userDrawn="1"/>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itle 1">
            <a:extLst>
              <a:ext uri="{FF2B5EF4-FFF2-40B4-BE49-F238E27FC236}">
                <a16:creationId xmlns:a16="http://schemas.microsoft.com/office/drawing/2014/main" id="{15F47D57-D473-4542-AACE-615EB18C6395}"/>
              </a:ext>
            </a:extLst>
          </p:cNvPr>
          <p:cNvSpPr>
            <a:spLocks noGrp="1"/>
          </p:cNvSpPr>
          <p:nvPr>
            <p:ph type="title" hasCustomPrompt="1"/>
          </p:nvPr>
        </p:nvSpPr>
        <p:spPr>
          <a:xfrm>
            <a:off x="685800" y="366939"/>
            <a:ext cx="7200026" cy="296662"/>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a:t>Click to edit master text style</a:t>
            </a:r>
          </a:p>
        </p:txBody>
      </p:sp>
    </p:spTree>
    <p:extLst>
      <p:ext uri="{BB962C8B-B14F-4D97-AF65-F5344CB8AC3E}">
        <p14:creationId xmlns:p14="http://schemas.microsoft.com/office/powerpoint/2010/main" val="2329731180"/>
      </p:ext>
    </p:extLst>
  </p:cSld>
  <p:clrMapOvr>
    <a:masterClrMapping/>
  </p:clrMapOvr>
  <p:extLst>
    <p:ext uri="{DCECCB84-F9BA-43D5-87BE-67443E8EF086}">
      <p15:sldGuideLst xmlns:p15="http://schemas.microsoft.com/office/powerpoint/2012/main">
        <p15:guide id="1" orient="horz" pos="43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Gem Main Mast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3F8FBF-E65E-4773-90D8-890D9D5DC42F}"/>
              </a:ext>
            </a:extLst>
          </p:cNvPr>
          <p:cNvGraphicFramePr>
            <a:graphicFrameLocks noChangeAspect="1"/>
          </p:cNvGraphicFramePr>
          <p:nvPr userDrawn="1">
            <p:custDataLst>
              <p:tags r:id="rId1"/>
            </p:custDataLst>
            <p:extLst>
              <p:ext uri="{D42A27DB-BD31-4B8C-83A1-F6EECF244321}">
                <p14:modId xmlns:p14="http://schemas.microsoft.com/office/powerpoint/2010/main" val="2508213349"/>
              </p:ex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293F8FBF-E65E-4773-90D8-890D9D5DC42F}"/>
                          </a:ext>
                        </a:extLst>
                      </p:cNvPr>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96039C-5E02-4225-B5D2-E726E59719BB}"/>
              </a:ext>
            </a:extLst>
          </p:cNvPr>
          <p:cNvSpPr/>
          <p:nvPr userDrawn="1">
            <p:custDataLst>
              <p:tags r:id="rId2"/>
            </p:custDataLst>
          </p:nvPr>
        </p:nvSpPr>
        <p:spPr>
          <a:xfrm>
            <a:off x="1" y="1"/>
            <a:ext cx="158750" cy="15875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1500" b="1" i="0" baseline="0" dirty="0">
              <a:solidFill>
                <a:schemeClr val="tx1"/>
              </a:solidFill>
              <a:latin typeface="Verdana" panose="020B0604030504040204" pitchFamily="34" charset="0"/>
              <a:ea typeface="+mj-ea"/>
              <a:cs typeface="+mj-cs"/>
              <a:sym typeface="Verdana" panose="020B0604030504040204" pitchFamily="34" charset="0"/>
            </a:endParaRPr>
          </a:p>
        </p:txBody>
      </p:sp>
      <p:sp>
        <p:nvSpPr>
          <p:cNvPr id="14" name="Slide Number Placeholder 5"/>
          <p:cNvSpPr txBox="1">
            <a:spLocks/>
          </p:cNvSpPr>
          <p:nvPr/>
        </p:nvSpPr>
        <p:spPr>
          <a:xfrm>
            <a:off x="8564662" y="4821774"/>
            <a:ext cx="153888"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78"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78"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431800" y="263622"/>
            <a:ext cx="7734300"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178"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4"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8" name="Title 1">
            <a:extLst>
              <a:ext uri="{FF2B5EF4-FFF2-40B4-BE49-F238E27FC236}">
                <a16:creationId xmlns:a16="http://schemas.microsoft.com/office/drawing/2014/main" id="{FEDBA31E-2D54-5F44-B830-E952E5857F64}"/>
              </a:ext>
            </a:extLst>
          </p:cNvPr>
          <p:cNvSpPr>
            <a:spLocks noGrp="1"/>
          </p:cNvSpPr>
          <p:nvPr>
            <p:ph type="title" hasCustomPrompt="1"/>
          </p:nvPr>
        </p:nvSpPr>
        <p:spPr>
          <a:xfrm>
            <a:off x="431800" y="461529"/>
            <a:ext cx="7734300" cy="296662"/>
          </a:xfrm>
          <a:prstGeom prst="rect">
            <a:avLst/>
          </a:prstGeom>
        </p:spPr>
        <p:txBody>
          <a:bodyPr wrap="square" lIns="0" tIns="0" rIns="0" bIns="0" anchor="t" anchorCtr="0">
            <a:noAutofit/>
          </a:bodyPr>
          <a:lstStyle>
            <a:lvl1pPr algn="l">
              <a:lnSpc>
                <a:spcPct val="100000"/>
              </a:lnSpc>
              <a:defRPr sz="1500" b="1" baseline="0">
                <a:solidFill>
                  <a:srgbClr val="4E565C"/>
                </a:solidFill>
              </a:defRPr>
            </a:lvl1pPr>
          </a:lstStyle>
          <a:p>
            <a:r>
              <a:rPr lang="en-US"/>
              <a:t>Click to edit master text style</a:t>
            </a:r>
          </a:p>
        </p:txBody>
      </p:sp>
      <p:pic>
        <p:nvPicPr>
          <p:cNvPr id="10" name="Picture 2"/>
          <p:cNvPicPr>
            <a:picLocks noChangeAspect="1" noChangeArrowheads="1"/>
          </p:cNvPicPr>
          <p:nvPr/>
        </p:nvPicPr>
        <p:blipFill>
          <a:blip r:embed="rId6"/>
          <a:srcRect/>
          <a:stretch>
            <a:fillRect/>
          </a:stretch>
        </p:blipFill>
        <p:spPr bwMode="auto">
          <a:xfrm>
            <a:off x="8350122" y="299785"/>
            <a:ext cx="530860" cy="424688"/>
          </a:xfrm>
          <a:prstGeom prst="rect">
            <a:avLst/>
          </a:prstGeom>
          <a:noFill/>
          <a:ln w="9525">
            <a:noFill/>
            <a:miter lim="800000"/>
            <a:headEnd/>
            <a:tailEnd/>
          </a:ln>
          <a:effectLst/>
        </p:spPr>
      </p:pic>
      <p:sp>
        <p:nvSpPr>
          <p:cNvPr id="12" name="Slide Number Placeholder 5"/>
          <p:cNvSpPr txBox="1">
            <a:spLocks/>
          </p:cNvSpPr>
          <p:nvPr/>
        </p:nvSpPr>
        <p:spPr>
          <a:xfrm>
            <a:off x="8564662" y="4821774"/>
            <a:ext cx="153888" cy="10259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178"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178"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Tree>
    <p:extLst>
      <p:ext uri="{BB962C8B-B14F-4D97-AF65-F5344CB8AC3E}">
        <p14:creationId xmlns:p14="http://schemas.microsoft.com/office/powerpoint/2010/main" val="37744681"/>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17798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ont Page">
    <p:spTree>
      <p:nvGrpSpPr>
        <p:cNvPr id="1" name=""/>
        <p:cNvGrpSpPr/>
        <p:nvPr/>
      </p:nvGrpSpPr>
      <p:grpSpPr>
        <a:xfrm>
          <a:off x="0" y="0"/>
          <a:ext cx="0" cy="0"/>
          <a:chOff x="0" y="0"/>
          <a:chExt cx="0" cy="0"/>
        </a:xfrm>
      </p:grpSpPr>
      <p:pic>
        <p:nvPicPr>
          <p:cNvPr id="11" name="Picture 3"/>
          <p:cNvPicPr>
            <a:picLocks noChangeAspect="1" noChangeArrowheads="1"/>
          </p:cNvPicPr>
          <p:nvPr userDrawn="1"/>
        </p:nvPicPr>
        <p:blipFill>
          <a:blip r:embed="rId2"/>
          <a:srcRect l="12501" t="29888" r="21959"/>
          <a:stretch>
            <a:fillRect/>
          </a:stretch>
        </p:blipFill>
        <p:spPr bwMode="auto">
          <a:xfrm>
            <a:off x="0" y="0"/>
            <a:ext cx="9144001" cy="3562952"/>
          </a:xfrm>
          <a:prstGeom prst="rect">
            <a:avLst/>
          </a:prstGeom>
          <a:noFill/>
          <a:ln w="9525">
            <a:noFill/>
            <a:miter lim="800000"/>
            <a:headEnd/>
            <a:tailEnd/>
          </a:ln>
          <a:effectLst/>
        </p:spPr>
      </p:pic>
      <p:sp>
        <p:nvSpPr>
          <p:cNvPr id="3" name="Text Placeholder 2"/>
          <p:cNvSpPr>
            <a:spLocks noGrp="1"/>
          </p:cNvSpPr>
          <p:nvPr>
            <p:ph type="body" idx="1" hasCustomPrompt="1"/>
          </p:nvPr>
        </p:nvSpPr>
        <p:spPr>
          <a:xfrm>
            <a:off x="685800" y="4579620"/>
            <a:ext cx="363306" cy="159018"/>
          </a:xfrm>
          <a:prstGeom prst="rect">
            <a:avLst/>
          </a:prstGeom>
        </p:spPr>
        <p:txBody>
          <a:bodyPr wrap="none" lIns="0" tIns="0" rIns="0" bIns="0" anchor="t" anchorCtr="0">
            <a:spAutoFit/>
          </a:bodyPr>
          <a:lstStyle>
            <a:lvl1pPr marL="0" indent="0">
              <a:lnSpc>
                <a:spcPts val="1200"/>
              </a:lnSpc>
              <a:spcBef>
                <a:spcPts val="0"/>
              </a:spcBef>
              <a:buNone/>
              <a:defRPr sz="12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Date</a:t>
            </a:r>
          </a:p>
        </p:txBody>
      </p:sp>
      <p:sp>
        <p:nvSpPr>
          <p:cNvPr id="14" name="Text Placeholder 2"/>
          <p:cNvSpPr>
            <a:spLocks noGrp="1"/>
          </p:cNvSpPr>
          <p:nvPr>
            <p:ph type="body" idx="11" hasCustomPrompt="1"/>
          </p:nvPr>
        </p:nvSpPr>
        <p:spPr>
          <a:xfrm>
            <a:off x="2243409" y="4579620"/>
            <a:ext cx="924231" cy="159018"/>
          </a:xfrm>
          <a:prstGeom prst="rect">
            <a:avLst/>
          </a:prstGeom>
        </p:spPr>
        <p:txBody>
          <a:bodyPr wrap="none" lIns="0" tIns="0" rIns="0" bIns="0" anchor="t" anchorCtr="0">
            <a:spAutoFit/>
          </a:bodyPr>
          <a:lstStyle>
            <a:lvl1pPr marL="0" indent="0">
              <a:lnSpc>
                <a:spcPts val="1200"/>
              </a:lnSpc>
              <a:spcBef>
                <a:spcPts val="0"/>
              </a:spcBef>
              <a:buNone/>
              <a:defRPr sz="12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Department</a:t>
            </a:r>
          </a:p>
        </p:txBody>
      </p:sp>
      <p:sp>
        <p:nvSpPr>
          <p:cNvPr id="9" name="TextBox 8"/>
          <p:cNvSpPr txBox="1"/>
          <p:nvPr/>
        </p:nvSpPr>
        <p:spPr>
          <a:xfrm>
            <a:off x="8134350" y="4908550"/>
            <a:ext cx="914400" cy="914400"/>
          </a:xfrm>
          <a:prstGeom prst="rect">
            <a:avLst/>
          </a:prstGeom>
        </p:spPr>
        <p:txBody>
          <a:bodyPr vert="horz" wrap="none" lIns="91440" tIns="45720" rIns="91440" bIns="45720" rtlCol="0" anchor="ctr">
            <a:normAutofit/>
          </a:bodyPr>
          <a:lstStyle/>
          <a:p>
            <a:pPr marL="0" marR="0" indent="0" algn="ctr" defTabSz="457200" rtl="0" eaLnBrk="1" fontAlgn="auto" latinLnBrk="0" hangingPunct="1">
              <a:lnSpc>
                <a:spcPct val="100000"/>
              </a:lnSpc>
              <a:spcBef>
                <a:spcPct val="0"/>
              </a:spcBef>
              <a:spcAft>
                <a:spcPts val="0"/>
              </a:spcAft>
              <a:buClrTx/>
              <a:buSzTx/>
              <a:buFontTx/>
              <a:buNone/>
              <a:tabLst/>
            </a:pPr>
            <a:endParaRPr kumimoji="0" lang="en-US" sz="4400" b="0" i="0" u="none" strike="noStrike" kern="1200" cap="none" spc="0" normalizeH="0" baseline="0" noProof="0" dirty="0">
              <a:ln>
                <a:noFill/>
              </a:ln>
              <a:solidFill>
                <a:schemeClr val="tx1"/>
              </a:solidFill>
              <a:effectLst/>
              <a:uLnTx/>
              <a:uFillTx/>
              <a:latin typeface="Verdana"/>
              <a:ea typeface="+mj-ea"/>
              <a:cs typeface="+mj-cs"/>
            </a:endParaRPr>
          </a:p>
        </p:txBody>
      </p:sp>
      <p:pic>
        <p:nvPicPr>
          <p:cNvPr id="15" name="Picture 2"/>
          <p:cNvPicPr>
            <a:picLocks noChangeAspect="1" noChangeArrowheads="1"/>
          </p:cNvPicPr>
          <p:nvPr/>
        </p:nvPicPr>
        <p:blipFill>
          <a:blip r:embed="rId3"/>
          <a:srcRect/>
          <a:stretch>
            <a:fillRect/>
          </a:stretch>
        </p:blipFill>
        <p:spPr bwMode="auto">
          <a:xfrm>
            <a:off x="685800" y="402621"/>
            <a:ext cx="1336802" cy="603250"/>
          </a:xfrm>
          <a:prstGeom prst="rect">
            <a:avLst/>
          </a:prstGeom>
          <a:noFill/>
          <a:ln w="9525">
            <a:noFill/>
            <a:miter lim="800000"/>
            <a:headEnd/>
            <a:tailEnd/>
          </a:ln>
          <a:effectLst/>
        </p:spPr>
      </p:pic>
      <p:sp>
        <p:nvSpPr>
          <p:cNvPr id="16" name="TextBox 15"/>
          <p:cNvSpPr txBox="1"/>
          <p:nvPr/>
        </p:nvSpPr>
        <p:spPr>
          <a:xfrm>
            <a:off x="8134350" y="4908550"/>
            <a:ext cx="914400" cy="914400"/>
          </a:xfrm>
          <a:prstGeom prst="rect">
            <a:avLst/>
          </a:prstGeom>
        </p:spPr>
        <p:txBody>
          <a:bodyPr vert="horz" wrap="none" lIns="91440" tIns="45720" rIns="91440" bIns="45720" rtlCol="0" anchor="ctr">
            <a:normAutofit/>
          </a:bodyPr>
          <a:lstStyle/>
          <a:p>
            <a:pPr marL="0" marR="0" indent="0" algn="ctr" defTabSz="457200" rtl="0" eaLnBrk="1" fontAlgn="auto" latinLnBrk="0" hangingPunct="1">
              <a:lnSpc>
                <a:spcPct val="100000"/>
              </a:lnSpc>
              <a:spcBef>
                <a:spcPct val="0"/>
              </a:spcBef>
              <a:spcAft>
                <a:spcPts val="0"/>
              </a:spcAft>
              <a:buClrTx/>
              <a:buSzTx/>
              <a:buFontTx/>
              <a:buNone/>
              <a:tabLst/>
            </a:pPr>
            <a:endParaRPr kumimoji="0" lang="en-US" sz="4400" b="0" i="0" u="none" strike="noStrike" kern="1200" cap="none" spc="0" normalizeH="0" baseline="0" noProof="0" dirty="0">
              <a:ln>
                <a:noFill/>
              </a:ln>
              <a:solidFill>
                <a:schemeClr val="tx1"/>
              </a:solidFill>
              <a:effectLst/>
              <a:uLnTx/>
              <a:uFillTx/>
              <a:latin typeface="Verdana"/>
              <a:ea typeface="+mj-ea"/>
              <a:cs typeface="+mj-cs"/>
            </a:endParaRPr>
          </a:p>
        </p:txBody>
      </p:sp>
      <p:sp>
        <p:nvSpPr>
          <p:cNvPr id="2" name="Title 1"/>
          <p:cNvSpPr>
            <a:spLocks noGrp="1"/>
          </p:cNvSpPr>
          <p:nvPr>
            <p:ph type="title" hasCustomPrompt="1"/>
          </p:nvPr>
        </p:nvSpPr>
        <p:spPr>
          <a:xfrm>
            <a:off x="685800" y="3411937"/>
            <a:ext cx="7494037" cy="995999"/>
          </a:xfrm>
          <a:prstGeom prst="rect">
            <a:avLst/>
          </a:prstGeom>
        </p:spPr>
        <p:txBody>
          <a:bodyPr wrap="square" lIns="0" tIns="0" rIns="0" bIns="0" anchor="b" anchorCtr="0">
            <a:noAutofit/>
          </a:bodyPr>
          <a:lstStyle>
            <a:lvl1pPr algn="l">
              <a:lnSpc>
                <a:spcPts val="3800"/>
              </a:lnSpc>
              <a:defRPr sz="2800" b="0" cap="none">
                <a:solidFill>
                  <a:srgbClr val="68737A"/>
                </a:solidFill>
              </a:defRPr>
            </a:lvl1pPr>
          </a:lstStyle>
          <a:p>
            <a:r>
              <a:rPr lang="en-US"/>
              <a:t>Click to edit </a:t>
            </a:r>
            <a:br>
              <a:rPr lang="en-US"/>
            </a:br>
            <a:r>
              <a:rPr lang="en-US"/>
              <a:t>master text style</a:t>
            </a:r>
          </a:p>
        </p:txBody>
      </p:sp>
    </p:spTree>
    <p:extLst>
      <p:ext uri="{BB962C8B-B14F-4D97-AF65-F5344CB8AC3E}">
        <p14:creationId xmlns:p14="http://schemas.microsoft.com/office/powerpoint/2010/main" val="29896696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FE97C1E-5D03-B74B-8E0A-279962218740}"/>
              </a:ext>
            </a:extLst>
          </p:cNvPr>
          <p:cNvPicPr>
            <a:picLocks noChangeAspect="1"/>
          </p:cNvPicPr>
          <p:nvPr userDrawn="1"/>
        </p:nvPicPr>
        <p:blipFill rotWithShape="1">
          <a:blip r:embed="rId2"/>
          <a:srcRect t="35907" b="5105"/>
          <a:stretch/>
        </p:blipFill>
        <p:spPr>
          <a:xfrm>
            <a:off x="0" y="2109458"/>
            <a:ext cx="9144000" cy="3034042"/>
          </a:xfrm>
          <a:prstGeom prst="rect">
            <a:avLst/>
          </a:prstGeom>
        </p:spPr>
      </p:pic>
      <p:sp>
        <p:nvSpPr>
          <p:cNvPr id="3" name="Text Placeholder 2"/>
          <p:cNvSpPr>
            <a:spLocks noGrp="1"/>
          </p:cNvSpPr>
          <p:nvPr>
            <p:ph type="body" idx="1" hasCustomPrompt="1"/>
          </p:nvPr>
        </p:nvSpPr>
        <p:spPr>
          <a:xfrm>
            <a:off x="685800" y="1184973"/>
            <a:ext cx="7734302" cy="325069"/>
          </a:xfrm>
          <a:prstGeom prst="rect">
            <a:avLst/>
          </a:prstGeom>
        </p:spPr>
        <p:txBody>
          <a:bodyPr wrap="square" lIns="18288" tIns="0" rIns="0" bIns="0" anchor="t" anchorCtr="0">
            <a:noAutofit/>
          </a:bodyPr>
          <a:lstStyle>
            <a:lvl1pPr marL="0" indent="0">
              <a:lnSpc>
                <a:spcPts val="2000"/>
              </a:lnSpc>
              <a:spcBef>
                <a:spcPts val="0"/>
              </a:spcBef>
              <a:buNone/>
              <a:defRPr sz="1800" baseline="0">
                <a:solidFill>
                  <a:srgbClr val="68737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a:t>
            </a:r>
          </a:p>
        </p:txBody>
      </p:sp>
      <p:sp>
        <p:nvSpPr>
          <p:cNvPr id="2" name="Title 1"/>
          <p:cNvSpPr>
            <a:spLocks noGrp="1"/>
          </p:cNvSpPr>
          <p:nvPr>
            <p:ph type="title" hasCustomPrompt="1"/>
          </p:nvPr>
        </p:nvSpPr>
        <p:spPr>
          <a:xfrm>
            <a:off x="685800" y="1510042"/>
            <a:ext cx="7734300" cy="1061708"/>
          </a:xfrm>
          <a:prstGeom prst="rect">
            <a:avLst/>
          </a:prstGeom>
        </p:spPr>
        <p:txBody>
          <a:bodyPr wrap="square" lIns="0" tIns="0" rIns="0" bIns="0" anchor="t">
            <a:noAutofit/>
          </a:bodyPr>
          <a:lstStyle>
            <a:lvl1pPr algn="l">
              <a:lnSpc>
                <a:spcPts val="3400"/>
              </a:lnSpc>
              <a:defRPr sz="3000" b="0" cap="none">
                <a:solidFill>
                  <a:srgbClr val="68737A"/>
                </a:solidFill>
              </a:defRPr>
            </a:lvl1pPr>
          </a:lstStyle>
          <a:p>
            <a:r>
              <a:rPr lang="en-US"/>
              <a:t>Click to edit master text style</a:t>
            </a:r>
          </a:p>
        </p:txBody>
      </p:sp>
    </p:spTree>
    <p:extLst>
      <p:ext uri="{BB962C8B-B14F-4D97-AF65-F5344CB8AC3E}">
        <p14:creationId xmlns:p14="http://schemas.microsoft.com/office/powerpoint/2010/main" val="672853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85800" y="461529"/>
            <a:ext cx="7200026" cy="296662"/>
          </a:xfrm>
          <a:prstGeom prst="rect">
            <a:avLst/>
          </a:prstGeom>
        </p:spPr>
        <p:txBody>
          <a:bodyPr wrap="square" lIns="0" tIns="0" rIns="0" bIns="0" anchor="t" anchorCtr="0">
            <a:noAutofit/>
          </a:bodyPr>
          <a:lstStyle>
            <a:lvl1pPr algn="l">
              <a:lnSpc>
                <a:spcPts val="2800"/>
              </a:lnSpc>
              <a:defRPr sz="2000" b="0" baseline="0">
                <a:solidFill>
                  <a:srgbClr val="68737A"/>
                </a:solidFill>
              </a:defRPr>
            </a:lvl1pPr>
          </a:lstStyle>
          <a:p>
            <a:r>
              <a:rPr lang="en-US"/>
              <a:t>Click to edit master text style</a:t>
            </a:r>
          </a:p>
        </p:txBody>
      </p:sp>
      <p:pic>
        <p:nvPicPr>
          <p:cNvPr id="8"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1"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9" name="Text Placeholder 4">
            <a:extLst>
              <a:ext uri="{FF2B5EF4-FFF2-40B4-BE49-F238E27FC236}">
                <a16:creationId xmlns:a16="http://schemas.microsoft.com/office/drawing/2014/main" id="{A1F4906D-0223-E04B-8578-CF01B3F1929F}"/>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0"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16" name="Content Placeholder 15">
            <a:extLst>
              <a:ext uri="{FF2B5EF4-FFF2-40B4-BE49-F238E27FC236}">
                <a16:creationId xmlns:a16="http://schemas.microsoft.com/office/drawing/2014/main" id="{1D6298DA-E31F-2F40-A903-04C7B5D5DAC6}"/>
              </a:ext>
            </a:extLst>
          </p:cNvPr>
          <p:cNvSpPr>
            <a:spLocks noGrp="1"/>
          </p:cNvSpPr>
          <p:nvPr>
            <p:ph sz="quarter" idx="10"/>
          </p:nvPr>
        </p:nvSpPr>
        <p:spPr/>
        <p:txBody>
          <a:bodyPr/>
          <a:lst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lvl1pPr>
            <a:lvl2pPr marL="347472" marR="0" indent="-171450" algn="l" defTabSz="457200" rtl="0" eaLnBrk="1" fontAlgn="auto" latinLnBrk="0" hangingPunct="1">
              <a:lnSpc>
                <a:spcPct val="100000"/>
              </a:lnSpc>
              <a:spcBef>
                <a:spcPts val="0"/>
              </a:spcBef>
              <a:spcAft>
                <a:spcPts val="600"/>
              </a:spcAft>
              <a:buClrTx/>
              <a:buSzTx/>
              <a:buFont typeface="System Font Regular"/>
              <a:buChar char="–"/>
              <a:tabLst/>
              <a:defRPr/>
            </a:lvl2pPr>
            <a:lvl3pPr marL="521208" marR="0" indent="-171450" algn="l" defTabSz="457200" rtl="0" eaLnBrk="1" fontAlgn="auto" latinLnBrk="0" hangingPunct="1">
              <a:lnSpc>
                <a:spcPct val="100000"/>
              </a:lnSpc>
              <a:spcBef>
                <a:spcPts val="0"/>
              </a:spcBef>
              <a:spcAft>
                <a:spcPts val="600"/>
              </a:spcAft>
              <a:buClrTx/>
              <a:buSzTx/>
              <a:buFont typeface="Courier New" panose="020F0502020204030204" pitchFamily="34" charset="0"/>
              <a:buChar char="o"/>
              <a:tabLst/>
              <a:defRPr/>
            </a:lvl3pPr>
            <a:lvl4pPr marL="694944" marR="0" indent="-171450" algn="l" defTabSz="173736" rtl="0" eaLnBrk="1" fontAlgn="auto" latinLnBrk="0" hangingPunct="1">
              <a:lnSpc>
                <a:spcPct val="100000"/>
              </a:lnSpc>
              <a:spcBef>
                <a:spcPts val="0"/>
              </a:spcBef>
              <a:spcAft>
                <a:spcPts val="600"/>
              </a:spcAft>
              <a:buClrTx/>
              <a:buSzTx/>
              <a:buFont typeface="Wingdings" pitchFamily="2" charset="2"/>
              <a:buChar char="Ø"/>
              <a:tabLst/>
              <a:defRPr/>
            </a:lvl4pPr>
            <a:lvl5pPr marL="868680" marR="0" indent="-169863" algn="l" defTabSz="457200" rtl="0" eaLnBrk="1" fontAlgn="auto" latinLnBrk="0" hangingPunct="1">
              <a:lnSpc>
                <a:spcPct val="100000"/>
              </a:lnSpc>
              <a:spcBef>
                <a:spcPts val="0"/>
              </a:spcBef>
              <a:spcAft>
                <a:spcPts val="600"/>
              </a:spcAft>
              <a:buClrTx/>
              <a:buSzTx/>
              <a:buFont typeface="Wingdings" pitchFamily="2" charset="2"/>
              <a:buChar char="§"/>
              <a:tabLst/>
              <a:defRPr/>
            </a:lvl5pPr>
            <a:lvl6pPr marL="1042416" marR="0" indent="-171450" algn="l" defTabSz="457200" rtl="0" eaLnBrk="1" fontAlgn="auto" latinLnBrk="0" hangingPunct="1">
              <a:lnSpc>
                <a:spcPct val="100000"/>
              </a:lnSpc>
              <a:spcBef>
                <a:spcPts val="0"/>
              </a:spcBef>
              <a:spcAft>
                <a:spcPts val="600"/>
              </a:spcAft>
              <a:buClrTx/>
              <a:buSzTx/>
              <a:buFont typeface="Arial"/>
              <a:buChar char="•"/>
              <a:tabLst/>
              <a:defRPr/>
            </a:lvl6pPr>
          </a:lstStyle>
          <a:p>
            <a:pPr marL="171450" marR="0" lvl="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Edit Master text styles</a:t>
            </a:r>
          </a:p>
          <a:p>
            <a:pPr marL="171450" marR="0" lvl="1"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Second level</a:t>
            </a:r>
          </a:p>
          <a:p>
            <a:pPr marL="171450" marR="0" lvl="2"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Third level</a:t>
            </a:r>
          </a:p>
          <a:p>
            <a:pPr marL="171450" marR="0" lvl="3"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Fourth level</a:t>
            </a:r>
          </a:p>
          <a:p>
            <a:pPr marL="171450" marR="0" lvl="4"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a:pPr>
            <a:r>
              <a:rPr kumimoji="0" lang="en-US" sz="1200" b="0" i="0" u="none" strike="noStrike" kern="1200" cap="none" spc="0" normalizeH="0" baseline="0" noProof="0">
                <a:ln>
                  <a:noFill/>
                </a:ln>
                <a:solidFill>
                  <a:srgbClr val="687379"/>
                </a:solidFill>
                <a:effectLst/>
                <a:uLnTx/>
                <a:uFillTx/>
                <a:latin typeface="Verdana"/>
                <a:ea typeface="+mn-ea"/>
                <a:cs typeface="+mn-cs"/>
              </a:rPr>
              <a:t>Fifth level</a:t>
            </a:r>
            <a:endParaRPr kumimoji="0" lang="en-US" sz="900" b="0" i="0" u="none" strike="noStrike" kern="1200" cap="none" spc="0" normalizeH="0" baseline="0" noProof="0">
              <a:ln>
                <a:noFill/>
              </a:ln>
              <a:solidFill>
                <a:srgbClr val="687379"/>
              </a:solidFill>
              <a:effectLst/>
              <a:uLnTx/>
              <a:uFillTx/>
              <a:latin typeface="+mn-lt"/>
              <a:ea typeface="+mn-ea"/>
              <a:cs typeface="+mn-cs"/>
            </a:endParaRPr>
          </a:p>
        </p:txBody>
      </p:sp>
    </p:spTree>
    <p:extLst>
      <p:ext uri="{BB962C8B-B14F-4D97-AF65-F5344CB8AC3E}">
        <p14:creationId xmlns:p14="http://schemas.microsoft.com/office/powerpoint/2010/main" val="1504853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itle 1">
            <a:extLst>
              <a:ext uri="{FF2B5EF4-FFF2-40B4-BE49-F238E27FC236}">
                <a16:creationId xmlns:a16="http://schemas.microsoft.com/office/drawing/2014/main" id="{FEDBA31E-2D54-5F44-B830-E952E5857F64}"/>
              </a:ext>
            </a:extLst>
          </p:cNvPr>
          <p:cNvSpPr>
            <a:spLocks noGrp="1"/>
          </p:cNvSpPr>
          <p:nvPr>
            <p:ph type="title" hasCustomPrompt="1"/>
          </p:nvPr>
        </p:nvSpPr>
        <p:spPr>
          <a:xfrm>
            <a:off x="685800" y="461529"/>
            <a:ext cx="7200026" cy="296662"/>
          </a:xfrm>
          <a:prstGeom prst="rect">
            <a:avLst/>
          </a:prstGeom>
        </p:spPr>
        <p:txBody>
          <a:bodyPr wrap="square" lIns="0" tIns="0" rIns="0" bIns="0" anchor="t" anchorCtr="0">
            <a:noAutofit/>
          </a:bodyPr>
          <a:lstStyle>
            <a:lvl1pPr algn="l">
              <a:lnSpc>
                <a:spcPts val="2800"/>
              </a:lnSpc>
              <a:defRPr sz="2000" b="0" baseline="0">
                <a:solidFill>
                  <a:srgbClr val="68737A"/>
                </a:solidFill>
              </a:defRPr>
            </a:lvl1pPr>
          </a:lstStyle>
          <a:p>
            <a:r>
              <a:rPr lang="en-US"/>
              <a:t>Click to edit master text style</a:t>
            </a:r>
          </a:p>
        </p:txBody>
      </p:sp>
      <p:pic>
        <p:nvPicPr>
          <p:cNvPr id="10"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2"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Tree>
    <p:extLst>
      <p:ext uri="{BB962C8B-B14F-4D97-AF65-F5344CB8AC3E}">
        <p14:creationId xmlns:p14="http://schemas.microsoft.com/office/powerpoint/2010/main" val="25874487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a:t>
            </a:r>
          </a:p>
        </p:txBody>
      </p:sp>
      <p:sp>
        <p:nvSpPr>
          <p:cNvPr id="9" name="Text Placeholder 4">
            <a:extLst>
              <a:ext uri="{FF2B5EF4-FFF2-40B4-BE49-F238E27FC236}">
                <a16:creationId xmlns:a16="http://schemas.microsoft.com/office/drawing/2014/main" id="{F28394C2-C78C-2F4F-AC8F-D053059C6D1E}"/>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4"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3" name="Content Placeholder 2">
            <a:extLst>
              <a:ext uri="{FF2B5EF4-FFF2-40B4-BE49-F238E27FC236}">
                <a16:creationId xmlns:a16="http://schemas.microsoft.com/office/drawing/2014/main" id="{9DE31ABD-F129-5E41-8007-F49756362679}"/>
              </a:ext>
            </a:extLst>
          </p:cNvPr>
          <p:cNvSpPr>
            <a:spLocks noGrp="1"/>
          </p:cNvSpPr>
          <p:nvPr>
            <p:ph sz="quarter" idx="12"/>
          </p:nvPr>
        </p:nvSpPr>
        <p:spPr>
          <a:xfrm>
            <a:off x="685800" y="1047750"/>
            <a:ext cx="3785038"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35B34382-9CC4-C147-B0F8-E7681434C048}"/>
              </a:ext>
            </a:extLst>
          </p:cNvPr>
          <p:cNvSpPr>
            <a:spLocks noGrp="1"/>
          </p:cNvSpPr>
          <p:nvPr>
            <p:ph sz="quarter" idx="13"/>
          </p:nvPr>
        </p:nvSpPr>
        <p:spPr>
          <a:xfrm>
            <a:off x="4635062" y="1047750"/>
            <a:ext cx="3785038"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92778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a:t>
            </a:r>
          </a:p>
        </p:txBody>
      </p:sp>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1" y="263620"/>
            <a:ext cx="7200026" cy="145837"/>
          </a:xfrm>
          <a:prstGeom prst="rect">
            <a:avLst/>
          </a:prstGeom>
        </p:spPr>
        <p:txBody>
          <a:bodyPr lIns="9144" tIns="0" rIns="0" bIns="0" anchor="t" anchorCtr="0">
            <a:noAutofit/>
          </a:bodyPr>
          <a:lstStyle>
            <a:lvl1pPr marL="0" indent="0">
              <a:lnSpc>
                <a:spcPts val="1200"/>
              </a:lnSpc>
              <a:spcBef>
                <a:spcPts val="0"/>
              </a:spcBef>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3" name="Content Placeholder 2">
            <a:extLst>
              <a:ext uri="{FF2B5EF4-FFF2-40B4-BE49-F238E27FC236}">
                <a16:creationId xmlns:a16="http://schemas.microsoft.com/office/drawing/2014/main" id="{D3C2CD6A-8392-C24F-872D-9F43890124E7}"/>
              </a:ext>
            </a:extLst>
          </p:cNvPr>
          <p:cNvSpPr>
            <a:spLocks noGrp="1"/>
          </p:cNvSpPr>
          <p:nvPr>
            <p:ph sz="quarter" idx="12"/>
          </p:nvPr>
        </p:nvSpPr>
        <p:spPr>
          <a:xfrm>
            <a:off x="685800" y="1047750"/>
            <a:ext cx="1867995"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9C373DC7-FD4B-4F44-AF69-5797EE6FEFEA}"/>
              </a:ext>
            </a:extLst>
          </p:cNvPr>
          <p:cNvSpPr>
            <a:spLocks noGrp="1"/>
          </p:cNvSpPr>
          <p:nvPr>
            <p:ph sz="quarter" idx="13"/>
          </p:nvPr>
        </p:nvSpPr>
        <p:spPr>
          <a:xfrm>
            <a:off x="2688130" y="1047750"/>
            <a:ext cx="1867995"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8F3477A4-D10B-6245-96C3-3DC9EF2562A4}"/>
              </a:ext>
            </a:extLst>
          </p:cNvPr>
          <p:cNvSpPr>
            <a:spLocks noGrp="1"/>
          </p:cNvSpPr>
          <p:nvPr>
            <p:ph sz="quarter" idx="14"/>
          </p:nvPr>
        </p:nvSpPr>
        <p:spPr>
          <a:xfrm>
            <a:off x="4690460" y="1047750"/>
            <a:ext cx="3729640" cy="3657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5163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8" name="Title 1">
            <a:extLst>
              <a:ext uri="{FF2B5EF4-FFF2-40B4-BE49-F238E27FC236}">
                <a16:creationId xmlns:a16="http://schemas.microsoft.com/office/drawing/2014/main" id="{FEDBA31E-2D54-5F44-B830-E952E5857F64}"/>
              </a:ext>
            </a:extLst>
          </p:cNvPr>
          <p:cNvSpPr>
            <a:spLocks noGrp="1"/>
          </p:cNvSpPr>
          <p:nvPr>
            <p:ph type="title" hasCustomPrompt="1"/>
          </p:nvPr>
        </p:nvSpPr>
        <p:spPr>
          <a:xfrm>
            <a:off x="685800" y="461529"/>
            <a:ext cx="7200026" cy="296662"/>
          </a:xfrm>
          <a:prstGeom prst="rect">
            <a:avLst/>
          </a:prstGeom>
        </p:spPr>
        <p:txBody>
          <a:bodyPr wrap="square" lIns="0" tIns="0" rIns="0" bIns="0" anchor="t" anchorCtr="0">
            <a:noAutofit/>
          </a:bodyPr>
          <a:lstStyle>
            <a:lvl1pPr algn="l">
              <a:lnSpc>
                <a:spcPts val="2800"/>
              </a:lnSpc>
              <a:defRPr sz="2400" b="0" baseline="0">
                <a:solidFill>
                  <a:srgbClr val="68737A"/>
                </a:solidFill>
              </a:defRPr>
            </a:lvl1pPr>
          </a:lstStyle>
          <a:p>
            <a:r>
              <a:rPr lang="en-US" dirty="0"/>
              <a:t>Click to edit master text style</a:t>
            </a:r>
          </a:p>
        </p:txBody>
      </p:sp>
      <p:pic>
        <p:nvPicPr>
          <p:cNvPr id="10"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2"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2592"/>
          </a:xfrm>
          <a:prstGeom prst="rect">
            <a:avLst/>
          </a:prstGeom>
        </p:spPr>
        <p:txBody>
          <a:bodyPr vert="horz" wrap="squar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a:t>
            </a:r>
          </a:p>
        </p:txBody>
      </p:sp>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1"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Slide Number Placeholder 5"/>
          <p:cNvSpPr txBox="1">
            <a:spLocks/>
          </p:cNvSpPr>
          <p:nvPr/>
        </p:nvSpPr>
        <p:spPr>
          <a:xfrm>
            <a:off x="8563560" y="4821774"/>
            <a:ext cx="154990" cy="102592"/>
          </a:xfrm>
          <a:prstGeom prst="rect">
            <a:avLst/>
          </a:prstGeom>
        </p:spPr>
        <p:txBody>
          <a:bodyPr vert="horz" wrap="squar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24" name="Text Placeholder 23">
            <a:extLst>
              <a:ext uri="{FF2B5EF4-FFF2-40B4-BE49-F238E27FC236}">
                <a16:creationId xmlns:a16="http://schemas.microsoft.com/office/drawing/2014/main" id="{37BD72D8-176B-F640-B53D-6FA5654F6B22}"/>
              </a:ext>
            </a:extLst>
          </p:cNvPr>
          <p:cNvSpPr>
            <a:spLocks noGrp="1"/>
          </p:cNvSpPr>
          <p:nvPr>
            <p:ph type="body" sz="quarter" idx="12"/>
          </p:nvPr>
        </p:nvSpPr>
        <p:spPr>
          <a:xfrm>
            <a:off x="685801" y="1047751"/>
            <a:ext cx="1197238" cy="3170099"/>
          </a:xfrm>
        </p:spPr>
        <p:txBody>
          <a:bodyPr wrap="square">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27">
            <a:extLst>
              <a:ext uri="{FF2B5EF4-FFF2-40B4-BE49-F238E27FC236}">
                <a16:creationId xmlns:a16="http://schemas.microsoft.com/office/drawing/2014/main" id="{86E8D891-84BA-1B47-95B7-EDFC5290E782}"/>
              </a:ext>
            </a:extLst>
          </p:cNvPr>
          <p:cNvSpPr>
            <a:spLocks noGrp="1"/>
          </p:cNvSpPr>
          <p:nvPr>
            <p:ph type="body" sz="quarter" idx="13"/>
          </p:nvPr>
        </p:nvSpPr>
        <p:spPr>
          <a:xfrm>
            <a:off x="1989699" y="1047750"/>
            <a:ext cx="1197238" cy="3170099"/>
          </a:xfrm>
        </p:spPr>
        <p:txBody>
          <a:bodyPr>
            <a:spAutoFit/>
          </a:bodyPr>
          <a:lstStyle>
            <a:lvl1pPr>
              <a:defRPr/>
            </a:lvl1pPr>
            <a:lvl2pPr>
              <a:defRPr/>
            </a:lvl2pPr>
            <a:lvl5pPr marL="690562"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29">
            <a:extLst>
              <a:ext uri="{FF2B5EF4-FFF2-40B4-BE49-F238E27FC236}">
                <a16:creationId xmlns:a16="http://schemas.microsoft.com/office/drawing/2014/main" id="{D658F0FF-13D4-9D4D-9E3A-70ED2DFA1353}"/>
              </a:ext>
            </a:extLst>
          </p:cNvPr>
          <p:cNvSpPr>
            <a:spLocks noGrp="1"/>
          </p:cNvSpPr>
          <p:nvPr>
            <p:ph type="body" sz="quarter" idx="14"/>
          </p:nvPr>
        </p:nvSpPr>
        <p:spPr>
          <a:xfrm>
            <a:off x="3293597"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1">
            <a:extLst>
              <a:ext uri="{FF2B5EF4-FFF2-40B4-BE49-F238E27FC236}">
                <a16:creationId xmlns:a16="http://schemas.microsoft.com/office/drawing/2014/main" id="{4C9D8122-75C2-8848-AECF-2047913B90FF}"/>
              </a:ext>
            </a:extLst>
          </p:cNvPr>
          <p:cNvSpPr>
            <a:spLocks noGrp="1"/>
          </p:cNvSpPr>
          <p:nvPr>
            <p:ph type="body" sz="quarter" idx="15"/>
          </p:nvPr>
        </p:nvSpPr>
        <p:spPr>
          <a:xfrm>
            <a:off x="4597495"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CEC3704E-D093-D14E-BB99-D08DFA76D02C}"/>
              </a:ext>
            </a:extLst>
          </p:cNvPr>
          <p:cNvSpPr>
            <a:spLocks noGrp="1"/>
          </p:cNvSpPr>
          <p:nvPr>
            <p:ph type="body" sz="quarter" idx="16"/>
          </p:nvPr>
        </p:nvSpPr>
        <p:spPr>
          <a:xfrm>
            <a:off x="5901393"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5">
            <a:extLst>
              <a:ext uri="{FF2B5EF4-FFF2-40B4-BE49-F238E27FC236}">
                <a16:creationId xmlns:a16="http://schemas.microsoft.com/office/drawing/2014/main" id="{F8C4D134-FCE9-5E4E-955C-46AC0C52F164}"/>
              </a:ext>
            </a:extLst>
          </p:cNvPr>
          <p:cNvSpPr>
            <a:spLocks noGrp="1"/>
          </p:cNvSpPr>
          <p:nvPr>
            <p:ph type="body" sz="quarter" idx="17"/>
          </p:nvPr>
        </p:nvSpPr>
        <p:spPr>
          <a:xfrm>
            <a:off x="7205292" y="1047750"/>
            <a:ext cx="1197238" cy="317009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9618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ng Title and Content 1">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8" name="Text Placeholder 4">
            <a:extLst>
              <a:ext uri="{FF2B5EF4-FFF2-40B4-BE49-F238E27FC236}">
                <a16:creationId xmlns:a16="http://schemas.microsoft.com/office/drawing/2014/main" id="{986811D3-7A07-9242-BAFA-E533DF084A53}"/>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BB969646-FFB4-7148-AB89-00E0182AA3AB}"/>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0"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3"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4" name="Content Placeholder 3">
            <a:extLst>
              <a:ext uri="{FF2B5EF4-FFF2-40B4-BE49-F238E27FC236}">
                <a16:creationId xmlns:a16="http://schemas.microsoft.com/office/drawing/2014/main" id="{ADC45F45-3A74-5D44-A3B4-411EF61867CF}"/>
              </a:ext>
            </a:extLst>
          </p:cNvPr>
          <p:cNvSpPr>
            <a:spLocks noGrp="1"/>
          </p:cNvSpPr>
          <p:nvPr>
            <p:ph sz="quarter" idx="12"/>
          </p:nvPr>
        </p:nvSpPr>
        <p:spPr>
          <a:xfrm>
            <a:off x="685800" y="1495425"/>
            <a:ext cx="7734300"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27339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ng Title Only">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EAFFD62-5278-7246-A35D-5D648DE8922F}"/>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Tree>
    <p:extLst>
      <p:ext uri="{BB962C8B-B14F-4D97-AF65-F5344CB8AC3E}">
        <p14:creationId xmlns:p14="http://schemas.microsoft.com/office/powerpoint/2010/main" val="16946936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ong Title and Content 2">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9" name="Text Placeholder 4">
            <a:extLst>
              <a:ext uri="{FF2B5EF4-FFF2-40B4-BE49-F238E27FC236}">
                <a16:creationId xmlns:a16="http://schemas.microsoft.com/office/drawing/2014/main" id="{F28394C2-C78C-2F4F-AC8F-D053059C6D1E}"/>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91B453D8-2CCB-F349-B3C5-71DED3B1E67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7" name="Content Placeholder 3">
            <a:extLst>
              <a:ext uri="{FF2B5EF4-FFF2-40B4-BE49-F238E27FC236}">
                <a16:creationId xmlns:a16="http://schemas.microsoft.com/office/drawing/2014/main" id="{8A98B763-528D-1E4B-A9C3-DD74A48A59F6}"/>
              </a:ext>
            </a:extLst>
          </p:cNvPr>
          <p:cNvSpPr>
            <a:spLocks noGrp="1"/>
          </p:cNvSpPr>
          <p:nvPr>
            <p:ph sz="quarter" idx="12"/>
          </p:nvPr>
        </p:nvSpPr>
        <p:spPr>
          <a:xfrm>
            <a:off x="685800" y="1495425"/>
            <a:ext cx="3785038"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4">
            <a:extLst>
              <a:ext uri="{FF2B5EF4-FFF2-40B4-BE49-F238E27FC236}">
                <a16:creationId xmlns:a16="http://schemas.microsoft.com/office/drawing/2014/main" id="{EFDE8B11-E622-B545-B01E-737D424EB055}"/>
              </a:ext>
            </a:extLst>
          </p:cNvPr>
          <p:cNvSpPr>
            <a:spLocks noGrp="1"/>
          </p:cNvSpPr>
          <p:nvPr>
            <p:ph sz="quarter" idx="13"/>
          </p:nvPr>
        </p:nvSpPr>
        <p:spPr>
          <a:xfrm>
            <a:off x="4635062" y="1495424"/>
            <a:ext cx="3785038"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86638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ong 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ABE388AB-E1A4-DF49-B427-39341F88605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8" name="Content Placeholder 2">
            <a:extLst>
              <a:ext uri="{FF2B5EF4-FFF2-40B4-BE49-F238E27FC236}">
                <a16:creationId xmlns:a16="http://schemas.microsoft.com/office/drawing/2014/main" id="{1CE9CD11-24D5-214C-B6BE-3B675237F2F4}"/>
              </a:ext>
            </a:extLst>
          </p:cNvPr>
          <p:cNvSpPr>
            <a:spLocks noGrp="1"/>
          </p:cNvSpPr>
          <p:nvPr>
            <p:ph sz="quarter" idx="12"/>
          </p:nvPr>
        </p:nvSpPr>
        <p:spPr>
          <a:xfrm>
            <a:off x="685800" y="1495424"/>
            <a:ext cx="1867995"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a:extLst>
              <a:ext uri="{FF2B5EF4-FFF2-40B4-BE49-F238E27FC236}">
                <a16:creationId xmlns:a16="http://schemas.microsoft.com/office/drawing/2014/main" id="{ACE83162-7C8C-2D44-BE4C-956F0CA0C579}"/>
              </a:ext>
            </a:extLst>
          </p:cNvPr>
          <p:cNvSpPr>
            <a:spLocks noGrp="1"/>
          </p:cNvSpPr>
          <p:nvPr>
            <p:ph sz="quarter" idx="13"/>
          </p:nvPr>
        </p:nvSpPr>
        <p:spPr>
          <a:xfrm>
            <a:off x="2688130" y="1495424"/>
            <a:ext cx="1867995"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B97221F4-86E2-D340-8769-E91E636C145C}"/>
              </a:ext>
            </a:extLst>
          </p:cNvPr>
          <p:cNvSpPr>
            <a:spLocks noGrp="1"/>
          </p:cNvSpPr>
          <p:nvPr>
            <p:ph sz="quarter" idx="14"/>
          </p:nvPr>
        </p:nvSpPr>
        <p:spPr>
          <a:xfrm>
            <a:off x="4690460" y="1495424"/>
            <a:ext cx="3729640" cy="32099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6757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ong Title and Content 4">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2">
            <a:extLst>
              <a:ext uri="{FF2B5EF4-FFF2-40B4-BE49-F238E27FC236}">
                <a16:creationId xmlns:a16="http://schemas.microsoft.com/office/drawing/2014/main" id="{ABE388AB-E1A4-DF49-B427-39341F88605C}"/>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 with long title copywriting</a:t>
            </a:r>
          </a:p>
        </p:txBody>
      </p:sp>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Text Placeholder 23">
            <a:extLst>
              <a:ext uri="{FF2B5EF4-FFF2-40B4-BE49-F238E27FC236}">
                <a16:creationId xmlns:a16="http://schemas.microsoft.com/office/drawing/2014/main" id="{A523E239-1D7F-9048-8FD6-4E5A8353F604}"/>
              </a:ext>
            </a:extLst>
          </p:cNvPr>
          <p:cNvSpPr>
            <a:spLocks noGrp="1"/>
          </p:cNvSpPr>
          <p:nvPr>
            <p:ph type="body" sz="quarter" idx="12"/>
          </p:nvPr>
        </p:nvSpPr>
        <p:spPr>
          <a:xfrm>
            <a:off x="685801" y="1495425"/>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19273D99-9830-D345-80C1-21410D674971}"/>
              </a:ext>
            </a:extLst>
          </p:cNvPr>
          <p:cNvSpPr>
            <a:spLocks noGrp="1"/>
          </p:cNvSpPr>
          <p:nvPr>
            <p:ph type="body" sz="quarter" idx="13"/>
          </p:nvPr>
        </p:nvSpPr>
        <p:spPr>
          <a:xfrm>
            <a:off x="1989699"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9">
            <a:extLst>
              <a:ext uri="{FF2B5EF4-FFF2-40B4-BE49-F238E27FC236}">
                <a16:creationId xmlns:a16="http://schemas.microsoft.com/office/drawing/2014/main" id="{AC6D3C91-9ECB-CB46-BE75-06FFB359375B}"/>
              </a:ext>
            </a:extLst>
          </p:cNvPr>
          <p:cNvSpPr>
            <a:spLocks noGrp="1"/>
          </p:cNvSpPr>
          <p:nvPr>
            <p:ph type="body" sz="quarter" idx="14"/>
          </p:nvPr>
        </p:nvSpPr>
        <p:spPr>
          <a:xfrm>
            <a:off x="3293597"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31">
            <a:extLst>
              <a:ext uri="{FF2B5EF4-FFF2-40B4-BE49-F238E27FC236}">
                <a16:creationId xmlns:a16="http://schemas.microsoft.com/office/drawing/2014/main" id="{7722FB60-71AB-AB45-A465-0EC228C7998B}"/>
              </a:ext>
            </a:extLst>
          </p:cNvPr>
          <p:cNvSpPr>
            <a:spLocks noGrp="1"/>
          </p:cNvSpPr>
          <p:nvPr>
            <p:ph type="body" sz="quarter" idx="15"/>
          </p:nvPr>
        </p:nvSpPr>
        <p:spPr>
          <a:xfrm>
            <a:off x="4597495"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33">
            <a:extLst>
              <a:ext uri="{FF2B5EF4-FFF2-40B4-BE49-F238E27FC236}">
                <a16:creationId xmlns:a16="http://schemas.microsoft.com/office/drawing/2014/main" id="{652AE153-B7D8-984E-AB0A-ADF2B07D2AFA}"/>
              </a:ext>
            </a:extLst>
          </p:cNvPr>
          <p:cNvSpPr>
            <a:spLocks noGrp="1"/>
          </p:cNvSpPr>
          <p:nvPr>
            <p:ph type="body" sz="quarter" idx="16"/>
          </p:nvPr>
        </p:nvSpPr>
        <p:spPr>
          <a:xfrm>
            <a:off x="5901393"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35">
            <a:extLst>
              <a:ext uri="{FF2B5EF4-FFF2-40B4-BE49-F238E27FC236}">
                <a16:creationId xmlns:a16="http://schemas.microsoft.com/office/drawing/2014/main" id="{E2E49344-BD5D-1342-B403-D3C27D813409}"/>
              </a:ext>
            </a:extLst>
          </p:cNvPr>
          <p:cNvSpPr>
            <a:spLocks noGrp="1"/>
          </p:cNvSpPr>
          <p:nvPr>
            <p:ph type="body" sz="quarter" idx="17"/>
          </p:nvPr>
        </p:nvSpPr>
        <p:spPr>
          <a:xfrm>
            <a:off x="7205292" y="1495424"/>
            <a:ext cx="1197238" cy="2908489"/>
          </a:xfrm>
        </p:spPr>
        <p:txBody>
          <a:bodyPr>
            <a:spAutoFit/>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48904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636" b="1" i="0">
                <a:solidFill>
                  <a:srgbClr val="E11D33"/>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682" b="0" i="0">
                <a:solidFill>
                  <a:schemeClr val="bg1"/>
                </a:solidFill>
                <a:latin typeface="Calibri"/>
                <a:cs typeface="Calibri"/>
              </a:defRPr>
            </a:lvl1pPr>
          </a:lstStyle>
          <a:p>
            <a:pPr marL="8659"/>
            <a:endParaRPr lang="en-GB" spc="-3" dirty="0"/>
          </a:p>
        </p:txBody>
      </p:sp>
      <p:sp>
        <p:nvSpPr>
          <p:cNvPr id="5" name="Holder 5"/>
          <p:cNvSpPr>
            <a:spLocks noGrp="1"/>
          </p:cNvSpPr>
          <p:nvPr>
            <p:ph type="dt" sz="half" idx="6"/>
          </p:nvPr>
        </p:nvSpPr>
        <p:spPr/>
        <p:txBody>
          <a:bodyPr lIns="0" tIns="0" rIns="0" bIns="0"/>
          <a:lstStyle>
            <a:lvl1pPr algn="l">
              <a:defRPr sz="1600">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750" b="0" i="0">
                <a:solidFill>
                  <a:schemeClr val="bg1"/>
                </a:solidFill>
                <a:latin typeface="Calibri"/>
                <a:cs typeface="Calibri"/>
              </a:defRPr>
            </a:lvl1pPr>
          </a:lstStyle>
          <a:p>
            <a:pPr marL="65807"/>
            <a:fld id="{81D60167-4931-47E6-BA6A-407CBD079E47}" type="slidenum">
              <a:rPr lang="en-GB" smtClean="0"/>
              <a:pPr marL="65807"/>
              <a:t>‹#›</a:t>
            </a:fld>
            <a:endParaRPr lang="en-GB" dirty="0"/>
          </a:p>
        </p:txBody>
      </p:sp>
    </p:spTree>
    <p:extLst>
      <p:ext uri="{BB962C8B-B14F-4D97-AF65-F5344CB8AC3E}">
        <p14:creationId xmlns:p14="http://schemas.microsoft.com/office/powerpoint/2010/main" val="6051566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Long 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userDrawn="1"/>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5"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dirty="0">
              <a:ln>
                <a:noFill/>
              </a:ln>
              <a:solidFill>
                <a:srgbClr val="68737A"/>
              </a:solidFill>
              <a:effectLst/>
              <a:uLnTx/>
              <a:uFillTx/>
              <a:latin typeface="Verdana"/>
              <a:ea typeface="+mn-ea"/>
              <a:cs typeface="+mn-cs"/>
            </a:endParaRPr>
          </a:p>
        </p:txBody>
      </p:sp>
      <p:pic>
        <p:nvPicPr>
          <p:cNvPr id="16" name="Picture 2">
            <a:extLst>
              <a:ext uri="{FF2B5EF4-FFF2-40B4-BE49-F238E27FC236}">
                <a16:creationId xmlns:a16="http://schemas.microsoft.com/office/drawing/2014/main" id="{487929CF-C370-024C-86DE-D897B4671BFA}"/>
              </a:ext>
            </a:extLst>
          </p:cNvPr>
          <p:cNvPicPr>
            <a:picLocks noChangeAspect="1" noChangeArrowheads="1"/>
          </p:cNvPicPr>
          <p:nvPr userDrawn="1"/>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Tree>
    <p:extLst>
      <p:ext uri="{BB962C8B-B14F-4D97-AF65-F5344CB8AC3E}">
        <p14:creationId xmlns:p14="http://schemas.microsoft.com/office/powerpoint/2010/main" val="22069686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5553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88581" y="2025146"/>
            <a:ext cx="3522806" cy="725199"/>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9932" y="2025146"/>
            <a:ext cx="3524250" cy="725199"/>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21"/>
          <p:cNvSpPr>
            <a:spLocks noGrp="1" noChangeArrowheads="1"/>
          </p:cNvSpPr>
          <p:nvPr>
            <p:ph type="ftr" sz="quarter" idx="10"/>
          </p:nvPr>
        </p:nvSpPr>
        <p:spPr>
          <a:ln/>
        </p:spPr>
        <p:txBody>
          <a:bodyPr/>
          <a:lstStyle>
            <a:lvl1pPr>
              <a:defRPr/>
            </a:lvl1pPr>
          </a:lstStyle>
          <a:p>
            <a:pPr>
              <a:defRPr/>
            </a:pPr>
            <a:r>
              <a:rPr lang="en-GB" altLang="en-US" dirty="0"/>
              <a:t>PCA CONFIDENTIAL</a:t>
            </a:r>
          </a:p>
        </p:txBody>
      </p:sp>
      <p:sp>
        <p:nvSpPr>
          <p:cNvPr id="6" name="Rectangle 17"/>
          <p:cNvSpPr>
            <a:spLocks noGrp="1" noChangeArrowheads="1"/>
          </p:cNvSpPr>
          <p:nvPr>
            <p:ph type="sldNum" sz="quarter" idx="11"/>
          </p:nvPr>
        </p:nvSpPr>
        <p:spPr>
          <a:ln/>
        </p:spPr>
        <p:txBody>
          <a:bodyPr/>
          <a:lstStyle>
            <a:lvl1pPr>
              <a:defRPr/>
            </a:lvl1pPr>
          </a:lstStyle>
          <a:p>
            <a:fld id="{C5C9EA94-E5A4-4798-8D91-85F34DB821CB}" type="slidenum">
              <a:rPr lang="en-GB" altLang="en-US"/>
              <a:pPr/>
              <a:t>‹#›</a:t>
            </a:fld>
            <a:endParaRPr lang="en-GB" altLang="en-US" dirty="0"/>
          </a:p>
        </p:txBody>
      </p:sp>
    </p:spTree>
    <p:extLst>
      <p:ext uri="{BB962C8B-B14F-4D97-AF65-F5344CB8AC3E}">
        <p14:creationId xmlns:p14="http://schemas.microsoft.com/office/powerpoint/2010/main" val="4878862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a:t>
            </a:r>
          </a:p>
        </p:txBody>
      </p:sp>
      <p:sp>
        <p:nvSpPr>
          <p:cNvPr id="9" name="Text Placeholder 4">
            <a:extLst>
              <a:ext uri="{FF2B5EF4-FFF2-40B4-BE49-F238E27FC236}">
                <a16:creationId xmlns:a16="http://schemas.microsoft.com/office/drawing/2014/main" id="{F28394C2-C78C-2F4F-AC8F-D053059C6D1E}"/>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4"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3" name="Content Placeholder 2">
            <a:extLst>
              <a:ext uri="{FF2B5EF4-FFF2-40B4-BE49-F238E27FC236}">
                <a16:creationId xmlns:a16="http://schemas.microsoft.com/office/drawing/2014/main" id="{9DE31ABD-F129-5E41-8007-F49756362679}"/>
              </a:ext>
            </a:extLst>
          </p:cNvPr>
          <p:cNvSpPr>
            <a:spLocks noGrp="1"/>
          </p:cNvSpPr>
          <p:nvPr>
            <p:ph sz="quarter" idx="12"/>
          </p:nvPr>
        </p:nvSpPr>
        <p:spPr>
          <a:xfrm>
            <a:off x="685800" y="1047750"/>
            <a:ext cx="3785038"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4">
            <a:extLst>
              <a:ext uri="{FF2B5EF4-FFF2-40B4-BE49-F238E27FC236}">
                <a16:creationId xmlns:a16="http://schemas.microsoft.com/office/drawing/2014/main" id="{35B34382-9CC4-C147-B0F8-E7681434C048}"/>
              </a:ext>
            </a:extLst>
          </p:cNvPr>
          <p:cNvSpPr>
            <a:spLocks noGrp="1"/>
          </p:cNvSpPr>
          <p:nvPr>
            <p:ph sz="quarter" idx="13"/>
          </p:nvPr>
        </p:nvSpPr>
        <p:spPr>
          <a:xfrm>
            <a:off x="4635062" y="1047750"/>
            <a:ext cx="3785038"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Text Slide">
    <p:spTree>
      <p:nvGrpSpPr>
        <p:cNvPr id="1" name=""/>
        <p:cNvGrpSpPr/>
        <p:nvPr/>
      </p:nvGrpSpPr>
      <p:grpSpPr>
        <a:xfrm>
          <a:off x="0" y="0"/>
          <a:ext cx="0" cy="0"/>
          <a:chOff x="0" y="0"/>
          <a:chExt cx="0" cy="0"/>
        </a:xfrm>
      </p:grpSpPr>
      <p:sp>
        <p:nvSpPr>
          <p:cNvPr id="2" name="Title 1"/>
          <p:cNvSpPr>
            <a:spLocks noGrp="1"/>
          </p:cNvSpPr>
          <p:nvPr>
            <p:ph type="title"/>
          </p:nvPr>
        </p:nvSpPr>
        <p:spPr>
          <a:xfrm>
            <a:off x="358776" y="339329"/>
            <a:ext cx="6880224" cy="379809"/>
          </a:xfrm>
        </p:spPr>
        <p:txBody>
          <a:bodyPr lIns="0" tIns="0" rIns="0" bIns="0" anchor="ctr" anchorCtr="0">
            <a:noAutofit/>
          </a:bodyPr>
          <a:lstStyle>
            <a:lvl1pPr marL="0" marR="0" indent="0" algn="l" defTabSz="342831" rtl="0" eaLnBrk="1" fontAlgn="auto" latinLnBrk="0" hangingPunct="1">
              <a:lnSpc>
                <a:spcPct val="100000"/>
              </a:lnSpc>
              <a:spcBef>
                <a:spcPct val="0"/>
              </a:spcBef>
              <a:spcAft>
                <a:spcPts val="0"/>
              </a:spcAft>
              <a:buClrTx/>
              <a:buSzTx/>
              <a:buFontTx/>
              <a:buNone/>
              <a:tabLst/>
              <a:defRPr sz="2250" b="1" i="0">
                <a:solidFill>
                  <a:srgbClr val="E21D33"/>
                </a:solidFill>
                <a:latin typeface="Calibri"/>
                <a:cs typeface="Calibri"/>
              </a:defRPr>
            </a:lvl1pPr>
          </a:lstStyle>
          <a:p>
            <a:r>
              <a:rPr lang="en-GB"/>
              <a:t>Click to edit Master title style</a:t>
            </a:r>
            <a:endParaRPr lang="en-US"/>
          </a:p>
        </p:txBody>
      </p:sp>
      <p:sp>
        <p:nvSpPr>
          <p:cNvPr id="3" name="Content Placeholder 2"/>
          <p:cNvSpPr>
            <a:spLocks noGrp="1"/>
          </p:cNvSpPr>
          <p:nvPr>
            <p:ph idx="1"/>
          </p:nvPr>
        </p:nvSpPr>
        <p:spPr>
          <a:xfrm>
            <a:off x="373066" y="1087041"/>
            <a:ext cx="8417407" cy="3561161"/>
          </a:xfrm>
        </p:spPr>
        <p:txBody>
          <a:bodyPr lIns="0" tIns="0" rIns="0" bIns="0"/>
          <a:lstStyle>
            <a:lvl1pPr>
              <a:spcBef>
                <a:spcPts val="0"/>
              </a:spcBef>
              <a:spcAft>
                <a:spcPts val="1800"/>
              </a:spcAft>
              <a:defRPr sz="1950" b="0" i="0">
                <a:latin typeface="Calibri"/>
                <a:cs typeface="Calibri"/>
              </a:defRPr>
            </a:lvl1pPr>
            <a:lvl2pPr>
              <a:spcBef>
                <a:spcPts val="0"/>
              </a:spcBef>
              <a:spcAft>
                <a:spcPts val="1800"/>
              </a:spcAft>
              <a:defRPr sz="1500" b="0" i="0">
                <a:latin typeface="Calibri"/>
                <a:cs typeface="Calibri"/>
              </a:defRPr>
            </a:lvl2pPr>
            <a:lvl3pPr>
              <a:spcBef>
                <a:spcPts val="0"/>
              </a:spcBef>
              <a:spcAft>
                <a:spcPts val="1800"/>
              </a:spcAft>
              <a:defRPr sz="1500" b="0" i="0">
                <a:latin typeface="Calibri"/>
                <a:cs typeface="Calibri"/>
              </a:defRPr>
            </a:lvl3pPr>
            <a:lvl4pPr>
              <a:defRPr sz="1500" b="0" i="0">
                <a:latin typeface="Calibri"/>
                <a:cs typeface="Calibri"/>
              </a:defRPr>
            </a:lvl4pPr>
            <a:lvl5pPr>
              <a:defRPr sz="1500" b="0" i="0">
                <a:latin typeface="Calibri"/>
                <a:cs typeface="Calibri"/>
              </a:defRPr>
            </a:lvl5pPr>
          </a:lstStyle>
          <a:p>
            <a:pPr lvl="0"/>
            <a:r>
              <a:rPr lang="en-GB"/>
              <a:t>Click to edit Master text styles</a:t>
            </a:r>
          </a:p>
          <a:p>
            <a:pPr lvl="1"/>
            <a:r>
              <a:rPr lang="en-GB"/>
              <a:t>Second level</a:t>
            </a:r>
          </a:p>
          <a:p>
            <a:pPr lvl="2"/>
            <a:r>
              <a:rPr lang="en-GB"/>
              <a:t>Third level</a:t>
            </a:r>
          </a:p>
        </p:txBody>
      </p:sp>
      <p:sp>
        <p:nvSpPr>
          <p:cNvPr id="5" name="Footer Placeholder 4"/>
          <p:cNvSpPr>
            <a:spLocks noGrp="1"/>
          </p:cNvSpPr>
          <p:nvPr>
            <p:ph type="ftr" sz="quarter" idx="11"/>
          </p:nvPr>
        </p:nvSpPr>
        <p:spPr/>
        <p:txBody>
          <a:bodyPr/>
          <a:lstStyle/>
          <a:p>
            <a:endParaRPr lang="en-US" dirty="0"/>
          </a:p>
        </p:txBody>
      </p:sp>
      <p:pic>
        <p:nvPicPr>
          <p:cNvPr id="9" name="Picture 8"/>
          <p:cNvPicPr>
            <a:picLocks noChangeAspect="1"/>
          </p:cNvPicPr>
          <p:nvPr userDrawn="1"/>
        </p:nvPicPr>
        <p:blipFill>
          <a:blip r:embed="rId2"/>
          <a:stretch>
            <a:fillRect/>
          </a:stretch>
        </p:blipFill>
        <p:spPr>
          <a:xfrm>
            <a:off x="8013700" y="287179"/>
            <a:ext cx="755650" cy="453390"/>
          </a:xfrm>
          <a:prstGeom prst="rect">
            <a:avLst/>
          </a:prstGeom>
        </p:spPr>
      </p:pic>
    </p:spTree>
    <p:extLst>
      <p:ext uri="{BB962C8B-B14F-4D97-AF65-F5344CB8AC3E}">
        <p14:creationId xmlns:p14="http://schemas.microsoft.com/office/powerpoint/2010/main" val="2066269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a:t>
            </a:r>
          </a:p>
        </p:txBody>
      </p:sp>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1"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3"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3" name="Content Placeholder 2">
            <a:extLst>
              <a:ext uri="{FF2B5EF4-FFF2-40B4-BE49-F238E27FC236}">
                <a16:creationId xmlns:a16="http://schemas.microsoft.com/office/drawing/2014/main" id="{D3C2CD6A-8392-C24F-872D-9F43890124E7}"/>
              </a:ext>
            </a:extLst>
          </p:cNvPr>
          <p:cNvSpPr>
            <a:spLocks noGrp="1"/>
          </p:cNvSpPr>
          <p:nvPr>
            <p:ph sz="quarter" idx="12"/>
          </p:nvPr>
        </p:nvSpPr>
        <p:spPr>
          <a:xfrm>
            <a:off x="685800" y="1047750"/>
            <a:ext cx="1867995"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a:extLst>
              <a:ext uri="{FF2B5EF4-FFF2-40B4-BE49-F238E27FC236}">
                <a16:creationId xmlns:a16="http://schemas.microsoft.com/office/drawing/2014/main" id="{9C373DC7-FD4B-4F44-AF69-5797EE6FEFEA}"/>
              </a:ext>
            </a:extLst>
          </p:cNvPr>
          <p:cNvSpPr>
            <a:spLocks noGrp="1"/>
          </p:cNvSpPr>
          <p:nvPr>
            <p:ph sz="quarter" idx="13"/>
          </p:nvPr>
        </p:nvSpPr>
        <p:spPr>
          <a:xfrm>
            <a:off x="2688130" y="1047750"/>
            <a:ext cx="1867995"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2">
            <a:extLst>
              <a:ext uri="{FF2B5EF4-FFF2-40B4-BE49-F238E27FC236}">
                <a16:creationId xmlns:a16="http://schemas.microsoft.com/office/drawing/2014/main" id="{8F3477A4-D10B-6245-96C3-3DC9EF2562A4}"/>
              </a:ext>
            </a:extLst>
          </p:cNvPr>
          <p:cNvSpPr>
            <a:spLocks noGrp="1"/>
          </p:cNvSpPr>
          <p:nvPr>
            <p:ph sz="quarter" idx="14"/>
          </p:nvPr>
        </p:nvSpPr>
        <p:spPr>
          <a:xfrm>
            <a:off x="4690460" y="1047750"/>
            <a:ext cx="3729640"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2592"/>
          </a:xfrm>
          <a:prstGeom prst="rect">
            <a:avLst/>
          </a:prstGeom>
        </p:spPr>
        <p:txBody>
          <a:bodyPr vert="horz" wrap="squar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9" name="Text Placeholder 2">
            <a:extLst>
              <a:ext uri="{FF2B5EF4-FFF2-40B4-BE49-F238E27FC236}">
                <a16:creationId xmlns:a16="http://schemas.microsoft.com/office/drawing/2014/main" id="{D53AC07C-B011-2E40-A2CE-C67B5AD832CE}"/>
              </a:ext>
            </a:extLst>
          </p:cNvPr>
          <p:cNvSpPr>
            <a:spLocks noGrp="1"/>
          </p:cNvSpPr>
          <p:nvPr>
            <p:ph type="body" idx="11" hasCustomPrompt="1"/>
          </p:nvPr>
        </p:nvSpPr>
        <p:spPr>
          <a:xfrm>
            <a:off x="685800" y="461529"/>
            <a:ext cx="7196400" cy="424688"/>
          </a:xfrm>
          <a:prstGeom prst="rect">
            <a:avLst/>
          </a:prstGeom>
        </p:spPr>
        <p:txBody>
          <a:bodyPr lIns="0" tIns="0" rIns="0" bIns="0" anchor="t" anchorCtr="0">
            <a:noAutofit/>
          </a:bodyPr>
          <a:lstStyle>
            <a:lvl1pPr marL="0" indent="0">
              <a:lnSpc>
                <a:spcPts val="2800"/>
              </a:lnSpc>
              <a:spcBef>
                <a:spcPts val="0"/>
              </a:spcBef>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a:t>
            </a:r>
          </a:p>
        </p:txBody>
      </p:sp>
      <p:sp>
        <p:nvSpPr>
          <p:cNvPr id="10" name="Text Placeholder 4">
            <a:extLst>
              <a:ext uri="{FF2B5EF4-FFF2-40B4-BE49-F238E27FC236}">
                <a16:creationId xmlns:a16="http://schemas.microsoft.com/office/drawing/2014/main" id="{C648BB1C-C50F-A14A-84D8-0B85DEF49A7C}"/>
              </a:ext>
            </a:extLst>
          </p:cNvPr>
          <p:cNvSpPr>
            <a:spLocks noGrp="1"/>
          </p:cNvSpPr>
          <p:nvPr>
            <p:ph type="body" sz="quarter" idx="3" hasCustomPrompt="1"/>
          </p:nvPr>
        </p:nvSpPr>
        <p:spPr>
          <a:xfrm>
            <a:off x="685801"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3" name="Slide Number Placeholder 5"/>
          <p:cNvSpPr txBox="1">
            <a:spLocks/>
          </p:cNvSpPr>
          <p:nvPr/>
        </p:nvSpPr>
        <p:spPr>
          <a:xfrm>
            <a:off x="8563560" y="4821774"/>
            <a:ext cx="154990" cy="102592"/>
          </a:xfrm>
          <a:prstGeom prst="rect">
            <a:avLst/>
          </a:prstGeom>
        </p:spPr>
        <p:txBody>
          <a:bodyPr vert="horz" wrap="squar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5"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24" name="Text Placeholder 23">
            <a:extLst>
              <a:ext uri="{FF2B5EF4-FFF2-40B4-BE49-F238E27FC236}">
                <a16:creationId xmlns:a16="http://schemas.microsoft.com/office/drawing/2014/main" id="{37BD72D8-176B-F640-B53D-6FA5654F6B22}"/>
              </a:ext>
            </a:extLst>
          </p:cNvPr>
          <p:cNvSpPr>
            <a:spLocks noGrp="1"/>
          </p:cNvSpPr>
          <p:nvPr>
            <p:ph type="body" sz="quarter" idx="12"/>
          </p:nvPr>
        </p:nvSpPr>
        <p:spPr>
          <a:xfrm>
            <a:off x="685801" y="1047751"/>
            <a:ext cx="1197238" cy="317009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27">
            <a:extLst>
              <a:ext uri="{FF2B5EF4-FFF2-40B4-BE49-F238E27FC236}">
                <a16:creationId xmlns:a16="http://schemas.microsoft.com/office/drawing/2014/main" id="{86E8D891-84BA-1B47-95B7-EDFC5290E782}"/>
              </a:ext>
            </a:extLst>
          </p:cNvPr>
          <p:cNvSpPr>
            <a:spLocks noGrp="1"/>
          </p:cNvSpPr>
          <p:nvPr>
            <p:ph type="body" sz="quarter" idx="13"/>
          </p:nvPr>
        </p:nvSpPr>
        <p:spPr>
          <a:xfrm>
            <a:off x="1989699" y="1047750"/>
            <a:ext cx="1197238" cy="3170099"/>
          </a:xfrm>
        </p:spPr>
        <p:txBody>
          <a:bodyPr>
            <a:spAutoFit/>
          </a:bodyPr>
          <a:lstStyle>
            <a:lvl1pPr>
              <a:defRPr/>
            </a:lvl1pPr>
            <a:lvl2pPr>
              <a:defRPr/>
            </a:lvl2pPr>
            <a:lvl5pPr marL="69056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29">
            <a:extLst>
              <a:ext uri="{FF2B5EF4-FFF2-40B4-BE49-F238E27FC236}">
                <a16:creationId xmlns:a16="http://schemas.microsoft.com/office/drawing/2014/main" id="{D658F0FF-13D4-9D4D-9E3A-70ED2DFA1353}"/>
              </a:ext>
            </a:extLst>
          </p:cNvPr>
          <p:cNvSpPr>
            <a:spLocks noGrp="1"/>
          </p:cNvSpPr>
          <p:nvPr>
            <p:ph type="body" sz="quarter" idx="14"/>
          </p:nvPr>
        </p:nvSpPr>
        <p:spPr>
          <a:xfrm>
            <a:off x="3293597" y="1047750"/>
            <a:ext cx="1197238" cy="317009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Text Placeholder 31">
            <a:extLst>
              <a:ext uri="{FF2B5EF4-FFF2-40B4-BE49-F238E27FC236}">
                <a16:creationId xmlns:a16="http://schemas.microsoft.com/office/drawing/2014/main" id="{4C9D8122-75C2-8848-AECF-2047913B90FF}"/>
              </a:ext>
            </a:extLst>
          </p:cNvPr>
          <p:cNvSpPr>
            <a:spLocks noGrp="1"/>
          </p:cNvSpPr>
          <p:nvPr>
            <p:ph type="body" sz="quarter" idx="15"/>
          </p:nvPr>
        </p:nvSpPr>
        <p:spPr>
          <a:xfrm>
            <a:off x="4597495" y="1047750"/>
            <a:ext cx="1197238" cy="317009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33">
            <a:extLst>
              <a:ext uri="{FF2B5EF4-FFF2-40B4-BE49-F238E27FC236}">
                <a16:creationId xmlns:a16="http://schemas.microsoft.com/office/drawing/2014/main" id="{CEC3704E-D093-D14E-BB99-D08DFA76D02C}"/>
              </a:ext>
            </a:extLst>
          </p:cNvPr>
          <p:cNvSpPr>
            <a:spLocks noGrp="1"/>
          </p:cNvSpPr>
          <p:nvPr>
            <p:ph type="body" sz="quarter" idx="16"/>
          </p:nvPr>
        </p:nvSpPr>
        <p:spPr>
          <a:xfrm>
            <a:off x="5901393" y="1047750"/>
            <a:ext cx="1197238" cy="317009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Text Placeholder 35">
            <a:extLst>
              <a:ext uri="{FF2B5EF4-FFF2-40B4-BE49-F238E27FC236}">
                <a16:creationId xmlns:a16="http://schemas.microsoft.com/office/drawing/2014/main" id="{F8C4D134-FCE9-5E4E-955C-46AC0C52F164}"/>
              </a:ext>
            </a:extLst>
          </p:cNvPr>
          <p:cNvSpPr>
            <a:spLocks noGrp="1"/>
          </p:cNvSpPr>
          <p:nvPr>
            <p:ph type="body" sz="quarter" idx="17"/>
          </p:nvPr>
        </p:nvSpPr>
        <p:spPr>
          <a:xfrm>
            <a:off x="7205292" y="1047750"/>
            <a:ext cx="1197238" cy="3170099"/>
          </a:xfrm>
        </p:spPr>
        <p:txBody>
          <a:bodyPr>
            <a:spAutoFit/>
          </a:bodyPr>
          <a:lstStyle>
            <a:lvl1pPr>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75906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ng Title and Content 1">
    <p:spTree>
      <p:nvGrpSpPr>
        <p:cNvPr id="1" name=""/>
        <p:cNvGrpSpPr/>
        <p:nvPr/>
      </p:nvGrpSpPr>
      <p:grpSpPr>
        <a:xfrm>
          <a:off x="0" y="0"/>
          <a:ext cx="0" cy="0"/>
          <a:chOff x="0" y="0"/>
          <a:chExt cx="0" cy="0"/>
        </a:xfrm>
      </p:grpSpPr>
      <p:sp>
        <p:nvSpPr>
          <p:cNvPr id="6"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2"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8" name="Text Placeholder 4">
            <a:extLst>
              <a:ext uri="{FF2B5EF4-FFF2-40B4-BE49-F238E27FC236}">
                <a16:creationId xmlns:a16="http://schemas.microsoft.com/office/drawing/2014/main" id="{986811D3-7A07-9242-BAFA-E533DF084A53}"/>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Text Placeholder 2">
            <a:extLst>
              <a:ext uri="{FF2B5EF4-FFF2-40B4-BE49-F238E27FC236}">
                <a16:creationId xmlns:a16="http://schemas.microsoft.com/office/drawing/2014/main" id="{BB969646-FFB4-7148-AB89-00E0182AA3AB}"/>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 with long title copywriting</a:t>
            </a:r>
          </a:p>
        </p:txBody>
      </p:sp>
      <p:sp>
        <p:nvSpPr>
          <p:cNvPr id="10"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pic>
        <p:nvPicPr>
          <p:cNvPr id="13" name="Picture 2">
            <a:extLst>
              <a:ext uri="{FF2B5EF4-FFF2-40B4-BE49-F238E27FC236}">
                <a16:creationId xmlns:a16="http://schemas.microsoft.com/office/drawing/2014/main" id="{487929CF-C370-024C-86DE-D897B4671BFA}"/>
              </a:ext>
            </a:extLst>
          </p:cNvPr>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4" name="Content Placeholder 3">
            <a:extLst>
              <a:ext uri="{FF2B5EF4-FFF2-40B4-BE49-F238E27FC236}">
                <a16:creationId xmlns:a16="http://schemas.microsoft.com/office/drawing/2014/main" id="{ADC45F45-3A74-5D44-A3B4-411EF61867CF}"/>
              </a:ext>
            </a:extLst>
          </p:cNvPr>
          <p:cNvSpPr>
            <a:spLocks noGrp="1"/>
          </p:cNvSpPr>
          <p:nvPr>
            <p:ph sz="quarter" idx="12"/>
          </p:nvPr>
        </p:nvSpPr>
        <p:spPr>
          <a:xfrm>
            <a:off x="685800" y="1495425"/>
            <a:ext cx="7734300" cy="3209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ng Title Only">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2"/>
          <a:srcRect/>
          <a:stretch>
            <a:fillRect/>
          </a:stretch>
        </p:blipFill>
        <p:spPr bwMode="auto">
          <a:xfrm>
            <a:off x="8187690" y="381000"/>
            <a:ext cx="530860" cy="424688"/>
          </a:xfrm>
          <a:prstGeom prst="rect">
            <a:avLst/>
          </a:prstGeom>
          <a:noFill/>
          <a:ln w="9525">
            <a:noFill/>
            <a:miter lim="800000"/>
            <a:headEnd/>
            <a:tailEnd/>
          </a:ln>
          <a:effectLst/>
        </p:spPr>
      </p:pic>
      <p:sp>
        <p:nvSpPr>
          <p:cNvPr id="14" name="Slide Number Placeholder 5"/>
          <p:cNvSpPr txBox="1">
            <a:spLocks/>
          </p:cNvSpPr>
          <p:nvPr/>
        </p:nvSpPr>
        <p:spPr>
          <a:xfrm>
            <a:off x="8563560" y="4821774"/>
            <a:ext cx="154990" cy="107722"/>
          </a:xfrm>
          <a:prstGeom prst="rect">
            <a:avLst/>
          </a:prstGeom>
        </p:spPr>
        <p:txBody>
          <a:bodyPr vert="horz" wrap="none" lIns="0" tIns="0" rIns="0" bIns="0" rtlCol="0" anchor="t" anchorCtr="0">
            <a:spAutoFit/>
          </a:bodyPr>
          <a:lstStyle>
            <a:lvl1pPr algn="r">
              <a:defRPr sz="1200">
                <a:solidFill>
                  <a:schemeClr val="tx1">
                    <a:tint val="75000"/>
                  </a:schemeClr>
                </a:solidFill>
                <a:latin typeface="Verdana"/>
              </a:defRPr>
            </a:lvl1pPr>
          </a:lstStyle>
          <a:p>
            <a:pPr marL="0" marR="0" lvl="0" indent="0" algn="r" defTabSz="457200" rtl="0" eaLnBrk="1" fontAlgn="auto" latinLnBrk="0" hangingPunct="1">
              <a:lnSpc>
                <a:spcPts val="800"/>
              </a:lnSpc>
              <a:spcBef>
                <a:spcPts val="0"/>
              </a:spcBef>
              <a:spcAft>
                <a:spcPts val="0"/>
              </a:spcAft>
              <a:buClrTx/>
              <a:buSzTx/>
              <a:buFontTx/>
              <a:buNone/>
              <a:tabLst/>
              <a:defRPr/>
            </a:pPr>
            <a:fld id="{B04C7F51-0DDD-404E-A28A-E5625C45B73C}" type="slidenum">
              <a:rPr kumimoji="0" lang="en-US" sz="700" b="0" i="0" u="none" strike="noStrike" kern="1200" cap="none" spc="0" normalizeH="0" baseline="0" noProof="0" smtClean="0">
                <a:ln>
                  <a:noFill/>
                </a:ln>
                <a:solidFill>
                  <a:srgbClr val="68737A"/>
                </a:solidFill>
                <a:effectLst/>
                <a:uLnTx/>
                <a:uFillTx/>
                <a:latin typeface="Verdana"/>
                <a:ea typeface="+mn-ea"/>
                <a:cs typeface="+mn-cs"/>
              </a:rPr>
              <a:pPr marL="0" marR="0" lvl="0" indent="0" algn="r" defTabSz="457200" rtl="0" eaLnBrk="1" fontAlgn="auto" latinLnBrk="0" hangingPunct="1">
                <a:lnSpc>
                  <a:spcPts val="800"/>
                </a:lnSpc>
                <a:spcBef>
                  <a:spcPts val="0"/>
                </a:spcBef>
                <a:spcAft>
                  <a:spcPts val="0"/>
                </a:spcAft>
                <a:buClrTx/>
                <a:buSzTx/>
                <a:buFontTx/>
                <a:buNone/>
                <a:tabLst/>
                <a:defRPr/>
              </a:pPr>
              <a:t>‹#›</a:t>
            </a:fld>
            <a:endParaRPr kumimoji="0" lang="en-US" sz="700" b="0" i="0" u="none" strike="noStrike" kern="1200" cap="none" spc="0" normalizeH="0" baseline="0" noProof="0">
              <a:ln>
                <a:noFill/>
              </a:ln>
              <a:solidFill>
                <a:srgbClr val="68737A"/>
              </a:solidFill>
              <a:effectLst/>
              <a:uLnTx/>
              <a:uFillTx/>
              <a:latin typeface="Verdana"/>
              <a:ea typeface="+mn-ea"/>
              <a:cs typeface="+mn-cs"/>
            </a:endParaRPr>
          </a:p>
        </p:txBody>
      </p:sp>
      <p:sp>
        <p:nvSpPr>
          <p:cNvPr id="7" name="Text Placeholder 4">
            <a:extLst>
              <a:ext uri="{FF2B5EF4-FFF2-40B4-BE49-F238E27FC236}">
                <a16:creationId xmlns:a16="http://schemas.microsoft.com/office/drawing/2014/main" id="{F3DFAC8B-A433-0044-BBC9-5EEB613305DB}"/>
              </a:ext>
            </a:extLst>
          </p:cNvPr>
          <p:cNvSpPr>
            <a:spLocks noGrp="1"/>
          </p:cNvSpPr>
          <p:nvPr>
            <p:ph type="body" sz="quarter" idx="3" hasCustomPrompt="1"/>
          </p:nvPr>
        </p:nvSpPr>
        <p:spPr>
          <a:xfrm>
            <a:off x="685800" y="263620"/>
            <a:ext cx="7200026" cy="145837"/>
          </a:xfrm>
          <a:prstGeom prst="rect">
            <a:avLst/>
          </a:prstGeom>
        </p:spPr>
        <p:txBody>
          <a:bodyPr lIns="9144" tIns="0" rIns="0" bIns="0" anchor="t" anchorCtr="0">
            <a:noAutofit/>
          </a:bodyPr>
          <a:lstStyle>
            <a:lvl1pPr marL="0" indent="0">
              <a:lnSpc>
                <a:spcPts val="1200"/>
              </a:lnSpc>
              <a:spcBef>
                <a:spcPts val="0"/>
              </a:spcBef>
              <a:buNone/>
              <a:defRPr sz="12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2">
            <a:extLst>
              <a:ext uri="{FF2B5EF4-FFF2-40B4-BE49-F238E27FC236}">
                <a16:creationId xmlns:a16="http://schemas.microsoft.com/office/drawing/2014/main" id="{2EAFFD62-5278-7246-A35D-5D648DE8922F}"/>
              </a:ext>
            </a:extLst>
          </p:cNvPr>
          <p:cNvSpPr>
            <a:spLocks noGrp="1"/>
          </p:cNvSpPr>
          <p:nvPr>
            <p:ph type="body" idx="11" hasCustomPrompt="1"/>
          </p:nvPr>
        </p:nvSpPr>
        <p:spPr>
          <a:xfrm>
            <a:off x="685800" y="461529"/>
            <a:ext cx="7200026" cy="792000"/>
          </a:xfrm>
          <a:prstGeom prst="rect">
            <a:avLst/>
          </a:prstGeom>
        </p:spPr>
        <p:txBody>
          <a:bodyPr lIns="0" tIns="0" rIns="0" bIns="0" anchor="t" anchorCtr="0">
            <a:normAutofit/>
          </a:bodyPr>
          <a:lstStyle>
            <a:lvl1pPr marL="0" indent="0">
              <a:lnSpc>
                <a:spcPts val="2800"/>
              </a:lnSpc>
              <a:spcBef>
                <a:spcPts val="0"/>
              </a:spcBef>
              <a:spcAft>
                <a:spcPts val="0"/>
              </a:spcAft>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 with long title copywriting</a:t>
            </a:r>
          </a:p>
        </p:txBody>
      </p:sp>
    </p:spTree>
    <p:extLst>
      <p:ext uri="{BB962C8B-B14F-4D97-AF65-F5344CB8AC3E}">
        <p14:creationId xmlns:p14="http://schemas.microsoft.com/office/powerpoint/2010/main" val="30573851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theme" Target="../theme/theme3.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61709"/>
            <a:ext cx="7201599" cy="296662"/>
          </a:xfrm>
          <a:prstGeom prst="rect">
            <a:avLst/>
          </a:prstGeom>
        </p:spPr>
        <p:txBody>
          <a:bodyPr vert="horz" lIns="0" tIns="0" rIns="0" bIns="0" rtlCol="0" anchor="t" anchorCtr="0">
            <a:noAutofit/>
          </a:bodyPr>
          <a:lstStyle/>
          <a:p>
            <a:pPr lvl="0"/>
            <a:r>
              <a:rPr lang="en-GB" dirty="0"/>
              <a:t>Click to edit master text style</a:t>
            </a:r>
          </a:p>
        </p:txBody>
      </p:sp>
      <p:sp>
        <p:nvSpPr>
          <p:cNvPr id="7" name="Text Placeholder 2">
            <a:extLst>
              <a:ext uri="{FF2B5EF4-FFF2-40B4-BE49-F238E27FC236}">
                <a16:creationId xmlns:a16="http://schemas.microsoft.com/office/drawing/2014/main" id="{06FF409E-B97D-FD4B-A992-AE90454D600D}"/>
              </a:ext>
            </a:extLst>
          </p:cNvPr>
          <p:cNvSpPr>
            <a:spLocks noGrp="1"/>
          </p:cNvSpPr>
          <p:nvPr>
            <p:ph type="body" idx="1"/>
          </p:nvPr>
        </p:nvSpPr>
        <p:spPr>
          <a:xfrm>
            <a:off x="685800" y="1047750"/>
            <a:ext cx="7734300" cy="3657600"/>
          </a:xfrm>
          <a:prstGeom prst="rect">
            <a:avLst/>
          </a:prstGeom>
        </p:spPr>
        <p:txBody>
          <a:bodyPr vert="horz" lIns="9144"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579786"/>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1" r:id="rId4"/>
    <p:sldLayoutId id="2147483683" r:id="rId5"/>
    <p:sldLayoutId id="2147483684" r:id="rId6"/>
    <p:sldLayoutId id="2147483690" r:id="rId7"/>
    <p:sldLayoutId id="2147483687" r:id="rId8"/>
    <p:sldLayoutId id="2147483672" r:id="rId9"/>
    <p:sldLayoutId id="2147483688" r:id="rId10"/>
    <p:sldLayoutId id="2147483689" r:id="rId11"/>
    <p:sldLayoutId id="2147483691" r:id="rId12"/>
  </p:sldLayoutIdLst>
  <p:hf sldNum="0" hdr="0" ftr="0" dt="0"/>
  <p:txStyles>
    <p:titleStyle>
      <a:lvl1pPr algn="l" defTabSz="457200" rtl="0" eaLnBrk="1" latinLnBrk="0" hangingPunct="1">
        <a:lnSpc>
          <a:spcPts val="2800"/>
        </a:lnSpc>
        <a:spcBef>
          <a:spcPct val="0"/>
        </a:spcBef>
        <a:buNone/>
        <a:defRPr sz="2400" kern="1200">
          <a:solidFill>
            <a:srgbClr val="68737A"/>
          </a:solidFill>
          <a:latin typeface="Verdana"/>
          <a:ea typeface="+mj-ea"/>
          <a:cs typeface="+mj-cs"/>
        </a:defRPr>
      </a:lvl1pPr>
    </p:titleStyle>
    <p:body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indent="-171450" algn="l" defTabSz="457200" rtl="0" eaLnBrk="1" latinLnBrk="0" hangingPunct="1">
        <a:lnSpc>
          <a:spcPct val="100000"/>
        </a:lnSpc>
        <a:spcBef>
          <a:spcPts val="0"/>
        </a:spcBef>
        <a:spcAft>
          <a:spcPts val="600"/>
        </a:spcAft>
        <a:buFont typeface="System Font Regular"/>
        <a:buChar char="–"/>
        <a:tabLst/>
        <a:defRPr sz="1200" kern="1200">
          <a:solidFill>
            <a:schemeClr val="tx1"/>
          </a:solidFill>
          <a:latin typeface="Verdana"/>
          <a:ea typeface="+mn-ea"/>
          <a:cs typeface="+mn-cs"/>
        </a:defRPr>
      </a:lvl2pPr>
      <a:lvl3pPr marL="521208" indent="-171450" algn="l" defTabSz="457200" rtl="0" eaLnBrk="1" latinLnBrk="0" hangingPunct="1">
        <a:lnSpc>
          <a:spcPct val="100000"/>
        </a:lnSpc>
        <a:spcBef>
          <a:spcPts val="0"/>
        </a:spcBef>
        <a:spcAft>
          <a:spcPts val="600"/>
        </a:spcAft>
        <a:buFont typeface="Courier New" panose="020F0502020204030204" pitchFamily="34" charset="0"/>
        <a:buChar char="o"/>
        <a:tabLst/>
        <a:defRPr sz="1100" kern="1200">
          <a:solidFill>
            <a:schemeClr val="tx1"/>
          </a:solidFill>
          <a:latin typeface="Verdana"/>
          <a:ea typeface="+mn-ea"/>
          <a:cs typeface="+mn-cs"/>
        </a:defRPr>
      </a:lvl3pPr>
      <a:lvl4pPr marL="694944" indent="-171450" algn="l" defTabSz="173736" rtl="0" eaLnBrk="1" latinLnBrk="0" hangingPunct="1">
        <a:lnSpc>
          <a:spcPct val="100000"/>
        </a:lnSpc>
        <a:spcBef>
          <a:spcPts val="0"/>
        </a:spcBef>
        <a:spcAft>
          <a:spcPts val="600"/>
        </a:spcAft>
        <a:buFont typeface="Wingdings" pitchFamily="2" charset="2"/>
        <a:buChar char="Ø"/>
        <a:tabLst/>
        <a:defRPr sz="1000" kern="1200">
          <a:solidFill>
            <a:schemeClr val="tx1"/>
          </a:solidFill>
          <a:latin typeface="Verdana"/>
          <a:ea typeface="+mn-ea"/>
          <a:cs typeface="+mn-cs"/>
        </a:defRPr>
      </a:lvl4pPr>
      <a:lvl5pPr marL="868680" indent="-169863" algn="l" defTabSz="457200" rtl="0" eaLnBrk="1" latinLnBrk="0" hangingPunct="1">
        <a:lnSpc>
          <a:spcPct val="100000"/>
        </a:lnSpc>
        <a:spcBef>
          <a:spcPts val="0"/>
        </a:spcBef>
        <a:spcAft>
          <a:spcPts val="600"/>
        </a:spcAft>
        <a:buFont typeface="Wingdings" pitchFamily="2" charset="2"/>
        <a:buChar char="§"/>
        <a:tabLst/>
        <a:defRPr sz="900" kern="1200">
          <a:solidFill>
            <a:schemeClr val="tx1"/>
          </a:solidFill>
          <a:latin typeface="Verdana"/>
          <a:ea typeface="+mn-ea"/>
          <a:cs typeface="+mn-cs"/>
        </a:defRPr>
      </a:lvl5pPr>
      <a:lvl6pPr marL="1042416" indent="-171450" algn="l" defTabSz="457200" rtl="0" eaLnBrk="1" latinLnBrk="0" hangingPunct="1">
        <a:spcBef>
          <a:spcPts val="0"/>
        </a:spcBef>
        <a:spcAft>
          <a:spcPts val="600"/>
        </a:spcAft>
        <a:buFont typeface="Arial"/>
        <a:buChar char="•"/>
        <a:tabLst/>
        <a:defRPr sz="9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userDrawn="1">
          <p15:clr>
            <a:srgbClr val="F26B43"/>
          </p15:clr>
        </p15:guide>
        <p15:guide id="2" pos="2880" userDrawn="1">
          <p15:clr>
            <a:srgbClr val="F26B43"/>
          </p15:clr>
        </p15:guide>
        <p15:guide id="3" pos="432" userDrawn="1">
          <p15:clr>
            <a:srgbClr val="F26B43"/>
          </p15:clr>
        </p15:guide>
        <p15:guide id="4" pos="5304" userDrawn="1">
          <p15:clr>
            <a:srgbClr val="F26B43"/>
          </p15:clr>
        </p15:guide>
        <p15:guide id="5" orient="horz" pos="2964" userDrawn="1">
          <p15:clr>
            <a:srgbClr val="F26B43"/>
          </p15:clr>
        </p15:guide>
        <p15:guide id="6" orient="horz" pos="6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61709"/>
            <a:ext cx="7201599" cy="296662"/>
          </a:xfrm>
          <a:prstGeom prst="rect">
            <a:avLst/>
          </a:prstGeom>
        </p:spPr>
        <p:txBody>
          <a:bodyPr vert="horz" lIns="0" tIns="0" rIns="0" bIns="0" rtlCol="0" anchor="t" anchorCtr="0">
            <a:noAutofit/>
          </a:bodyPr>
          <a:lstStyle/>
          <a:p>
            <a:pPr lvl="0"/>
            <a:r>
              <a:rPr lang="en-GB"/>
              <a:t>Click to edit master text style</a:t>
            </a:r>
          </a:p>
        </p:txBody>
      </p:sp>
      <p:sp>
        <p:nvSpPr>
          <p:cNvPr id="7" name="Text Placeholder 2">
            <a:extLst>
              <a:ext uri="{FF2B5EF4-FFF2-40B4-BE49-F238E27FC236}">
                <a16:creationId xmlns:a16="http://schemas.microsoft.com/office/drawing/2014/main" id="{06FF409E-B97D-FD4B-A992-AE90454D600D}"/>
              </a:ext>
            </a:extLst>
          </p:cNvPr>
          <p:cNvSpPr>
            <a:spLocks noGrp="1"/>
          </p:cNvSpPr>
          <p:nvPr>
            <p:ph type="body" idx="1"/>
          </p:nvPr>
        </p:nvSpPr>
        <p:spPr>
          <a:xfrm>
            <a:off x="685800" y="1047750"/>
            <a:ext cx="7734300" cy="3657600"/>
          </a:xfrm>
          <a:prstGeom prst="rect">
            <a:avLst/>
          </a:prstGeom>
        </p:spPr>
        <p:txBody>
          <a:bodyPr vert="horz" lIns="9144"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Tree>
    <p:extLst>
      <p:ext uri="{BB962C8B-B14F-4D97-AF65-F5344CB8AC3E}">
        <p14:creationId xmlns:p14="http://schemas.microsoft.com/office/powerpoint/2010/main" val="147709877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Lst>
  <p:hf sldNum="0" hdr="0" ftr="0" dt="0"/>
  <p:txStyles>
    <p:titleStyle>
      <a:lvl1pPr algn="l" defTabSz="457200" rtl="0" eaLnBrk="1" latinLnBrk="0" hangingPunct="1">
        <a:lnSpc>
          <a:spcPts val="2800"/>
        </a:lnSpc>
        <a:spcBef>
          <a:spcPct val="0"/>
        </a:spcBef>
        <a:buNone/>
        <a:defRPr sz="2400" kern="1200">
          <a:solidFill>
            <a:srgbClr val="68737A"/>
          </a:solidFill>
          <a:latin typeface="Verdana"/>
          <a:ea typeface="+mj-ea"/>
          <a:cs typeface="+mj-cs"/>
        </a:defRPr>
      </a:lvl1pPr>
    </p:titleStyle>
    <p:body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indent="-171450" algn="l" defTabSz="457200" rtl="0" eaLnBrk="1" latinLnBrk="0" hangingPunct="1">
        <a:lnSpc>
          <a:spcPct val="100000"/>
        </a:lnSpc>
        <a:spcBef>
          <a:spcPts val="0"/>
        </a:spcBef>
        <a:spcAft>
          <a:spcPts val="600"/>
        </a:spcAft>
        <a:buFont typeface="System Font Regular"/>
        <a:buChar char="–"/>
        <a:tabLst/>
        <a:defRPr sz="1200" kern="1200">
          <a:solidFill>
            <a:schemeClr val="tx1"/>
          </a:solidFill>
          <a:latin typeface="Verdana"/>
          <a:ea typeface="+mn-ea"/>
          <a:cs typeface="+mn-cs"/>
        </a:defRPr>
      </a:lvl2pPr>
      <a:lvl3pPr marL="521208" indent="-171450" algn="l" defTabSz="457200" rtl="0" eaLnBrk="1" latinLnBrk="0" hangingPunct="1">
        <a:lnSpc>
          <a:spcPct val="100000"/>
        </a:lnSpc>
        <a:spcBef>
          <a:spcPts val="0"/>
        </a:spcBef>
        <a:spcAft>
          <a:spcPts val="600"/>
        </a:spcAft>
        <a:buFont typeface="Courier New" panose="020F0502020204030204" pitchFamily="34" charset="0"/>
        <a:buChar char="o"/>
        <a:tabLst/>
        <a:defRPr sz="1100" kern="1200">
          <a:solidFill>
            <a:schemeClr val="tx1"/>
          </a:solidFill>
          <a:latin typeface="Verdana"/>
          <a:ea typeface="+mn-ea"/>
          <a:cs typeface="+mn-cs"/>
        </a:defRPr>
      </a:lvl3pPr>
      <a:lvl4pPr marL="694944" indent="-171450" algn="l" defTabSz="173736" rtl="0" eaLnBrk="1" latinLnBrk="0" hangingPunct="1">
        <a:lnSpc>
          <a:spcPct val="100000"/>
        </a:lnSpc>
        <a:spcBef>
          <a:spcPts val="0"/>
        </a:spcBef>
        <a:spcAft>
          <a:spcPts val="600"/>
        </a:spcAft>
        <a:buFont typeface="Wingdings" pitchFamily="2" charset="2"/>
        <a:buChar char="Ø"/>
        <a:tabLst/>
        <a:defRPr sz="1000" kern="1200">
          <a:solidFill>
            <a:schemeClr val="tx1"/>
          </a:solidFill>
          <a:latin typeface="Verdana"/>
          <a:ea typeface="+mn-ea"/>
          <a:cs typeface="+mn-cs"/>
        </a:defRPr>
      </a:lvl4pPr>
      <a:lvl5pPr marL="868680" indent="-169863" algn="l" defTabSz="457200" rtl="0" eaLnBrk="1" latinLnBrk="0" hangingPunct="1">
        <a:lnSpc>
          <a:spcPct val="100000"/>
        </a:lnSpc>
        <a:spcBef>
          <a:spcPts val="0"/>
        </a:spcBef>
        <a:spcAft>
          <a:spcPts val="600"/>
        </a:spcAft>
        <a:buFont typeface="Wingdings" pitchFamily="2" charset="2"/>
        <a:buChar char="§"/>
        <a:tabLst/>
        <a:defRPr sz="900" kern="1200">
          <a:solidFill>
            <a:schemeClr val="tx1"/>
          </a:solidFill>
          <a:latin typeface="Verdana"/>
          <a:ea typeface="+mn-ea"/>
          <a:cs typeface="+mn-cs"/>
        </a:defRPr>
      </a:lvl5pPr>
      <a:lvl6pPr marL="1042416" indent="-171450" algn="l" defTabSz="457200" rtl="0" eaLnBrk="1" latinLnBrk="0" hangingPunct="1">
        <a:spcBef>
          <a:spcPts val="0"/>
        </a:spcBef>
        <a:spcAft>
          <a:spcPts val="600"/>
        </a:spcAft>
        <a:buFont typeface="Arial"/>
        <a:buChar char="•"/>
        <a:tabLst/>
        <a:defRPr sz="9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432">
          <p15:clr>
            <a:srgbClr val="F26B43"/>
          </p15:clr>
        </p15:guide>
        <p15:guide id="4" pos="5304">
          <p15:clr>
            <a:srgbClr val="F26B43"/>
          </p15:clr>
        </p15:guide>
        <p15:guide id="5" orient="horz" pos="2964">
          <p15:clr>
            <a:srgbClr val="F26B43"/>
          </p15:clr>
        </p15:guide>
        <p15:guide id="6" orient="horz" pos="6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0" y="461709"/>
            <a:ext cx="7201599" cy="296662"/>
          </a:xfrm>
          <a:prstGeom prst="rect">
            <a:avLst/>
          </a:prstGeom>
        </p:spPr>
        <p:txBody>
          <a:bodyPr vert="horz" lIns="0" tIns="0" rIns="0" bIns="0" rtlCol="0" anchor="t" anchorCtr="0">
            <a:noAutofit/>
          </a:bodyPr>
          <a:lstStyle/>
          <a:p>
            <a:pPr lvl="0"/>
            <a:r>
              <a:rPr lang="en-GB"/>
              <a:t>Click to edit master text style</a:t>
            </a:r>
          </a:p>
        </p:txBody>
      </p:sp>
      <p:sp>
        <p:nvSpPr>
          <p:cNvPr id="7" name="Text Placeholder 2">
            <a:extLst>
              <a:ext uri="{FF2B5EF4-FFF2-40B4-BE49-F238E27FC236}">
                <a16:creationId xmlns:a16="http://schemas.microsoft.com/office/drawing/2014/main" id="{06FF409E-B97D-FD4B-A992-AE90454D600D}"/>
              </a:ext>
            </a:extLst>
          </p:cNvPr>
          <p:cNvSpPr>
            <a:spLocks noGrp="1"/>
          </p:cNvSpPr>
          <p:nvPr>
            <p:ph type="body" idx="1"/>
          </p:nvPr>
        </p:nvSpPr>
        <p:spPr>
          <a:xfrm>
            <a:off x="685800" y="1047750"/>
            <a:ext cx="7734300" cy="3657600"/>
          </a:xfrm>
          <a:prstGeom prst="rect">
            <a:avLst/>
          </a:prstGeom>
        </p:spPr>
        <p:txBody>
          <a:bodyPr vert="horz" lIns="9144"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endParaRPr lang="en-US"/>
          </a:p>
        </p:txBody>
      </p:sp>
    </p:spTree>
    <p:extLst>
      <p:ext uri="{BB962C8B-B14F-4D97-AF65-F5344CB8AC3E}">
        <p14:creationId xmlns:p14="http://schemas.microsoft.com/office/powerpoint/2010/main" val="121582050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Lst>
  <p:hf sldNum="0" hdr="0" ftr="0" dt="0"/>
  <p:txStyles>
    <p:titleStyle>
      <a:lvl1pPr algn="l" defTabSz="457200" rtl="0" eaLnBrk="1" latinLnBrk="0" hangingPunct="1">
        <a:lnSpc>
          <a:spcPts val="2800"/>
        </a:lnSpc>
        <a:spcBef>
          <a:spcPct val="0"/>
        </a:spcBef>
        <a:buNone/>
        <a:defRPr sz="2400" kern="1200">
          <a:solidFill>
            <a:srgbClr val="68737A"/>
          </a:solidFill>
          <a:latin typeface="Verdana"/>
          <a:ea typeface="+mj-ea"/>
          <a:cs typeface="+mj-cs"/>
        </a:defRPr>
      </a:lvl1pPr>
    </p:titleStyle>
    <p:body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indent="-171450" algn="l" defTabSz="457200" rtl="0" eaLnBrk="1" latinLnBrk="0" hangingPunct="1">
        <a:lnSpc>
          <a:spcPct val="100000"/>
        </a:lnSpc>
        <a:spcBef>
          <a:spcPts val="0"/>
        </a:spcBef>
        <a:spcAft>
          <a:spcPts val="600"/>
        </a:spcAft>
        <a:buFont typeface="System Font Regular"/>
        <a:buChar char="–"/>
        <a:tabLst/>
        <a:defRPr sz="1200" kern="1200">
          <a:solidFill>
            <a:schemeClr val="tx1"/>
          </a:solidFill>
          <a:latin typeface="Verdana"/>
          <a:ea typeface="+mn-ea"/>
          <a:cs typeface="+mn-cs"/>
        </a:defRPr>
      </a:lvl2pPr>
      <a:lvl3pPr marL="521208" indent="-171450" algn="l" defTabSz="457200" rtl="0" eaLnBrk="1" latinLnBrk="0" hangingPunct="1">
        <a:lnSpc>
          <a:spcPct val="100000"/>
        </a:lnSpc>
        <a:spcBef>
          <a:spcPts val="0"/>
        </a:spcBef>
        <a:spcAft>
          <a:spcPts val="600"/>
        </a:spcAft>
        <a:buFont typeface="Courier New" panose="020F0502020204030204" pitchFamily="34" charset="0"/>
        <a:buChar char="o"/>
        <a:tabLst/>
        <a:defRPr sz="1100" kern="1200">
          <a:solidFill>
            <a:schemeClr val="tx1"/>
          </a:solidFill>
          <a:latin typeface="Verdana"/>
          <a:ea typeface="+mn-ea"/>
          <a:cs typeface="+mn-cs"/>
        </a:defRPr>
      </a:lvl3pPr>
      <a:lvl4pPr marL="694944" indent="-171450" algn="l" defTabSz="173736" rtl="0" eaLnBrk="1" latinLnBrk="0" hangingPunct="1">
        <a:lnSpc>
          <a:spcPct val="100000"/>
        </a:lnSpc>
        <a:spcBef>
          <a:spcPts val="0"/>
        </a:spcBef>
        <a:spcAft>
          <a:spcPts val="600"/>
        </a:spcAft>
        <a:buFont typeface="Wingdings" pitchFamily="2" charset="2"/>
        <a:buChar char="Ø"/>
        <a:tabLst/>
        <a:defRPr sz="1000" kern="1200">
          <a:solidFill>
            <a:schemeClr val="tx1"/>
          </a:solidFill>
          <a:latin typeface="Verdana"/>
          <a:ea typeface="+mn-ea"/>
          <a:cs typeface="+mn-cs"/>
        </a:defRPr>
      </a:lvl4pPr>
      <a:lvl5pPr marL="868680" indent="-169863" algn="l" defTabSz="457200" rtl="0" eaLnBrk="1" latinLnBrk="0" hangingPunct="1">
        <a:lnSpc>
          <a:spcPct val="100000"/>
        </a:lnSpc>
        <a:spcBef>
          <a:spcPts val="0"/>
        </a:spcBef>
        <a:spcAft>
          <a:spcPts val="600"/>
        </a:spcAft>
        <a:buFont typeface="Wingdings" pitchFamily="2" charset="2"/>
        <a:buChar char="§"/>
        <a:tabLst/>
        <a:defRPr sz="900" kern="1200">
          <a:solidFill>
            <a:schemeClr val="tx1"/>
          </a:solidFill>
          <a:latin typeface="Verdana"/>
          <a:ea typeface="+mn-ea"/>
          <a:cs typeface="+mn-cs"/>
        </a:defRPr>
      </a:lvl5pPr>
      <a:lvl6pPr marL="1042416" indent="-171450" algn="l" defTabSz="457200" rtl="0" eaLnBrk="1" latinLnBrk="0" hangingPunct="1">
        <a:spcBef>
          <a:spcPts val="0"/>
        </a:spcBef>
        <a:spcAft>
          <a:spcPts val="600"/>
        </a:spcAft>
        <a:buFont typeface="Arial"/>
        <a:buChar char="•"/>
        <a:tabLst/>
        <a:defRPr sz="9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432">
          <p15:clr>
            <a:srgbClr val="F26B43"/>
          </p15:clr>
        </p15:guide>
        <p15:guide id="4" pos="5304">
          <p15:clr>
            <a:srgbClr val="F26B43"/>
          </p15:clr>
        </p15:guide>
        <p15:guide id="5" orient="horz" pos="2964">
          <p15:clr>
            <a:srgbClr val="F26B43"/>
          </p15:clr>
        </p15:guide>
        <p15:guide id="6" orient="horz" pos="66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28E503-7D94-CA45-B7A3-EDC2737DA0C7}"/>
              </a:ext>
            </a:extLst>
          </p:cNvPr>
          <p:cNvSpPr>
            <a:spLocks noGrp="1"/>
          </p:cNvSpPr>
          <p:nvPr>
            <p:ph type="body" idx="11"/>
          </p:nvPr>
        </p:nvSpPr>
        <p:spPr>
          <a:xfrm>
            <a:off x="2243409" y="4579620"/>
            <a:ext cx="2297617" cy="153888"/>
          </a:xfrm>
        </p:spPr>
        <p:txBody>
          <a:bodyPr/>
          <a:lstStyle/>
          <a:p>
            <a:r>
              <a:rPr lang="en-GB" dirty="0"/>
              <a:t>Africa Insurance Organisation</a:t>
            </a:r>
            <a:endParaRPr lang="en-US" dirty="0"/>
          </a:p>
        </p:txBody>
      </p:sp>
      <p:sp>
        <p:nvSpPr>
          <p:cNvPr id="4" name="Title 3">
            <a:extLst>
              <a:ext uri="{FF2B5EF4-FFF2-40B4-BE49-F238E27FC236}">
                <a16:creationId xmlns:a16="http://schemas.microsoft.com/office/drawing/2014/main" id="{EFEB8F49-7229-134D-81FE-111D77041092}"/>
              </a:ext>
            </a:extLst>
          </p:cNvPr>
          <p:cNvSpPr>
            <a:spLocks noGrp="1"/>
          </p:cNvSpPr>
          <p:nvPr>
            <p:ph type="title"/>
          </p:nvPr>
        </p:nvSpPr>
        <p:spPr/>
        <p:txBody>
          <a:bodyPr>
            <a:noAutofit/>
          </a:bodyPr>
          <a:lstStyle/>
          <a:p>
            <a:r>
              <a:rPr lang="en-US" sz="1800" b="1" dirty="0"/>
              <a:t>Life insurance in the face of climate change: </a:t>
            </a:r>
            <a:br>
              <a:rPr lang="en-US" sz="1800" b="1" dirty="0"/>
            </a:br>
            <a:r>
              <a:rPr lang="en-US" sz="1800" b="1" dirty="0"/>
              <a:t>Adapting to increasing natural catastrophes in Africa</a:t>
            </a:r>
            <a:endParaRPr lang="en-US" sz="1800" dirty="0"/>
          </a:p>
        </p:txBody>
      </p:sp>
      <p:sp>
        <p:nvSpPr>
          <p:cNvPr id="6" name="Text Placeholder 5">
            <a:extLst>
              <a:ext uri="{FF2B5EF4-FFF2-40B4-BE49-F238E27FC236}">
                <a16:creationId xmlns:a16="http://schemas.microsoft.com/office/drawing/2014/main" id="{151C4FA1-35B2-4426-BCF8-288768C025CE}"/>
              </a:ext>
            </a:extLst>
          </p:cNvPr>
          <p:cNvSpPr>
            <a:spLocks noGrp="1"/>
          </p:cNvSpPr>
          <p:nvPr>
            <p:ph type="body" idx="1"/>
          </p:nvPr>
        </p:nvSpPr>
        <p:spPr>
          <a:xfrm>
            <a:off x="685800" y="4579620"/>
            <a:ext cx="803105" cy="153888"/>
          </a:xfrm>
        </p:spPr>
        <p:txBody>
          <a:bodyPr/>
          <a:lstStyle/>
          <a:p>
            <a:r>
              <a:rPr lang="en-GB" dirty="0"/>
              <a:t>June 2024</a:t>
            </a:r>
            <a:endParaRPr lang="en-US" dirty="0"/>
          </a:p>
        </p:txBody>
      </p:sp>
    </p:spTree>
    <p:extLst>
      <p:ext uri="{BB962C8B-B14F-4D97-AF65-F5344CB8AC3E}">
        <p14:creationId xmlns:p14="http://schemas.microsoft.com/office/powerpoint/2010/main" val="112987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E3C8C-D526-25FE-3700-24E49BDFCD89}"/>
              </a:ext>
            </a:extLst>
          </p:cNvPr>
          <p:cNvSpPr>
            <a:spLocks noGrp="1"/>
          </p:cNvSpPr>
          <p:nvPr>
            <p:ph type="title"/>
          </p:nvPr>
        </p:nvSpPr>
        <p:spPr/>
        <p:txBody>
          <a:bodyPr/>
          <a:lstStyle/>
          <a:p>
            <a:r>
              <a:rPr lang="en-GB" dirty="0"/>
              <a:t>Change is also a source of opportunity</a:t>
            </a:r>
            <a:endParaRPr lang="en-US" dirty="0"/>
          </a:p>
        </p:txBody>
      </p:sp>
      <p:sp>
        <p:nvSpPr>
          <p:cNvPr id="3" name="Text Placeholder 2">
            <a:extLst>
              <a:ext uri="{FF2B5EF4-FFF2-40B4-BE49-F238E27FC236}">
                <a16:creationId xmlns:a16="http://schemas.microsoft.com/office/drawing/2014/main" id="{249BD466-8076-E515-340D-F4E475F6B976}"/>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E79FB8BA-50AE-1F1E-DA56-ACF82A628F02}"/>
              </a:ext>
            </a:extLst>
          </p:cNvPr>
          <p:cNvSpPr>
            <a:spLocks noGrp="1"/>
          </p:cNvSpPr>
          <p:nvPr>
            <p:ph sz="quarter" idx="10"/>
          </p:nvPr>
        </p:nvSpPr>
        <p:spPr>
          <a:xfrm>
            <a:off x="685800" y="1078670"/>
            <a:ext cx="7734300" cy="3422142"/>
          </a:xfrm>
        </p:spPr>
        <p:txBody>
          <a:bodyPr/>
          <a:lstStyle/>
          <a:p>
            <a:r>
              <a:rPr lang="en-GB" dirty="0"/>
              <a:t>We have seen a global increase in investor focus on sustainability and ESG developments</a:t>
            </a:r>
            <a:endParaRPr lang="en-US" dirty="0"/>
          </a:p>
        </p:txBody>
      </p:sp>
      <p:pic>
        <p:nvPicPr>
          <p:cNvPr id="28" name="Picture 27">
            <a:extLst>
              <a:ext uri="{FF2B5EF4-FFF2-40B4-BE49-F238E27FC236}">
                <a16:creationId xmlns:a16="http://schemas.microsoft.com/office/drawing/2014/main" id="{5319F0A7-5BDB-A98A-29DB-49848FA27B38}"/>
              </a:ext>
            </a:extLst>
          </p:cNvPr>
          <p:cNvPicPr>
            <a:picLocks noChangeAspect="1"/>
          </p:cNvPicPr>
          <p:nvPr/>
        </p:nvPicPr>
        <p:blipFill>
          <a:blip r:embed="rId2"/>
          <a:stretch>
            <a:fillRect/>
          </a:stretch>
        </p:blipFill>
        <p:spPr>
          <a:xfrm>
            <a:off x="1006475" y="1380106"/>
            <a:ext cx="6711950" cy="3222306"/>
          </a:xfrm>
          <a:prstGeom prst="rect">
            <a:avLst/>
          </a:prstGeom>
        </p:spPr>
      </p:pic>
    </p:spTree>
    <p:extLst>
      <p:ext uri="{BB962C8B-B14F-4D97-AF65-F5344CB8AC3E}">
        <p14:creationId xmlns:p14="http://schemas.microsoft.com/office/powerpoint/2010/main" val="3702514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3A16C-210F-F5A0-8820-5C7E9FA4FF23}"/>
              </a:ext>
            </a:extLst>
          </p:cNvPr>
          <p:cNvSpPr>
            <a:spLocks noGrp="1"/>
          </p:cNvSpPr>
          <p:nvPr>
            <p:ph type="title"/>
          </p:nvPr>
        </p:nvSpPr>
        <p:spPr/>
        <p:txBody>
          <a:bodyPr/>
          <a:lstStyle/>
          <a:p>
            <a:r>
              <a:rPr lang="en-GB" dirty="0"/>
              <a:t>What impact can life insurers have?</a:t>
            </a:r>
            <a:endParaRPr lang="en-US" dirty="0"/>
          </a:p>
        </p:txBody>
      </p:sp>
      <p:sp>
        <p:nvSpPr>
          <p:cNvPr id="3" name="Text Placeholder 2">
            <a:extLst>
              <a:ext uri="{FF2B5EF4-FFF2-40B4-BE49-F238E27FC236}">
                <a16:creationId xmlns:a16="http://schemas.microsoft.com/office/drawing/2014/main" id="{117E085E-9153-43CE-269B-2C2AF9496F02}"/>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695BE01F-3CB1-DAB5-3F51-888401749B4D}"/>
              </a:ext>
            </a:extLst>
          </p:cNvPr>
          <p:cNvSpPr>
            <a:spLocks noGrp="1"/>
          </p:cNvSpPr>
          <p:nvPr>
            <p:ph sz="quarter" idx="10"/>
          </p:nvPr>
        </p:nvSpPr>
        <p:spPr/>
        <p:txBody>
          <a:bodyPr/>
          <a:lstStyle/>
          <a:p>
            <a:r>
              <a:rPr lang="en-GB" dirty="0"/>
              <a:t>“Double materiality” considers not only the impact of climate and societal change on companies, but also the impact of companies on climate and society</a:t>
            </a:r>
            <a:endParaRPr lang="en-US" dirty="0"/>
          </a:p>
        </p:txBody>
      </p:sp>
      <p:pic>
        <p:nvPicPr>
          <p:cNvPr id="7" name="Picture 2" descr="Context — What's the fuss about double materiality?">
            <a:extLst>
              <a:ext uri="{FF2B5EF4-FFF2-40B4-BE49-F238E27FC236}">
                <a16:creationId xmlns:a16="http://schemas.microsoft.com/office/drawing/2014/main" id="{D783541B-B8E8-DF69-F629-A569F48E3B6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7922" y="1538176"/>
            <a:ext cx="6066424" cy="32662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63241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B78E3F-0A75-58ED-B14C-BA88C0AC388B}"/>
              </a:ext>
            </a:extLst>
          </p:cNvPr>
          <p:cNvSpPr>
            <a:spLocks noGrp="1"/>
          </p:cNvSpPr>
          <p:nvPr>
            <p:ph type="title"/>
          </p:nvPr>
        </p:nvSpPr>
        <p:spPr>
          <a:xfrm>
            <a:off x="685800" y="461529"/>
            <a:ext cx="7810500" cy="296662"/>
          </a:xfrm>
        </p:spPr>
        <p:txBody>
          <a:bodyPr/>
          <a:lstStyle/>
          <a:p>
            <a:r>
              <a:rPr lang="en-GB" dirty="0"/>
              <a:t>How can companies assess double materiality?</a:t>
            </a:r>
            <a:endParaRPr lang="en-US" dirty="0"/>
          </a:p>
        </p:txBody>
      </p:sp>
      <p:sp>
        <p:nvSpPr>
          <p:cNvPr id="3" name="Text Placeholder 2">
            <a:extLst>
              <a:ext uri="{FF2B5EF4-FFF2-40B4-BE49-F238E27FC236}">
                <a16:creationId xmlns:a16="http://schemas.microsoft.com/office/drawing/2014/main" id="{E9AF3DB9-B62A-4FD0-9413-F276B51DAD8D}"/>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5CA931D0-8EA5-2C47-77D3-30DCB52DF892}"/>
              </a:ext>
            </a:extLst>
          </p:cNvPr>
          <p:cNvSpPr>
            <a:spLocks noGrp="1"/>
          </p:cNvSpPr>
          <p:nvPr>
            <p:ph sz="quarter" idx="10"/>
          </p:nvPr>
        </p:nvSpPr>
        <p:spPr>
          <a:xfrm>
            <a:off x="685800" y="1047750"/>
            <a:ext cx="7734300" cy="1231900"/>
          </a:xfrm>
        </p:spPr>
        <p:txBody>
          <a:bodyPr>
            <a:normAutofit/>
          </a:bodyPr>
          <a:lstStyle/>
          <a:p>
            <a:r>
              <a:rPr lang="en-GB" dirty="0"/>
              <a:t>Applying double materiality to the company’s stakeholders can highlight the key areas of risk and opportunities</a:t>
            </a:r>
          </a:p>
          <a:p>
            <a:r>
              <a:rPr lang="en-GB" dirty="0"/>
              <a:t>This application should be done over the short, medium and long term horizons as well as using different potential future scenarios</a:t>
            </a:r>
            <a:endParaRPr lang="en-US" dirty="0"/>
          </a:p>
        </p:txBody>
      </p:sp>
      <p:sp>
        <p:nvSpPr>
          <p:cNvPr id="5" name="Rectangle 2">
            <a:extLst>
              <a:ext uri="{FF2B5EF4-FFF2-40B4-BE49-F238E27FC236}">
                <a16:creationId xmlns:a16="http://schemas.microsoft.com/office/drawing/2014/main" id="{B7E6E9AD-0610-8BEE-2A80-69C98BA806B4}"/>
              </a:ext>
            </a:extLst>
          </p:cNvPr>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7" name="Table 6">
            <a:extLst>
              <a:ext uri="{FF2B5EF4-FFF2-40B4-BE49-F238E27FC236}">
                <a16:creationId xmlns:a16="http://schemas.microsoft.com/office/drawing/2014/main" id="{22DF26A1-1104-F6FC-3FAC-BDD1B575D1EE}"/>
              </a:ext>
            </a:extLst>
          </p:cNvPr>
          <p:cNvGraphicFramePr>
            <a:graphicFrameLocks noGrp="1"/>
          </p:cNvGraphicFramePr>
          <p:nvPr>
            <p:extLst>
              <p:ext uri="{D42A27DB-BD31-4B8C-83A1-F6EECF244321}">
                <p14:modId xmlns:p14="http://schemas.microsoft.com/office/powerpoint/2010/main" val="111101542"/>
              </p:ext>
            </p:extLst>
          </p:nvPr>
        </p:nvGraphicFramePr>
        <p:xfrm>
          <a:off x="120650" y="1993900"/>
          <a:ext cx="8972551" cy="2275840"/>
        </p:xfrm>
        <a:graphic>
          <a:graphicData uri="http://schemas.openxmlformats.org/drawingml/2006/table">
            <a:tbl>
              <a:tblPr firstRow="1" firstCol="1">
                <a:tableStyleId>{69012ECD-51FC-41F1-AA8D-1B2483CD663E}</a:tableStyleId>
              </a:tblPr>
              <a:tblGrid>
                <a:gridCol w="781050">
                  <a:extLst>
                    <a:ext uri="{9D8B030D-6E8A-4147-A177-3AD203B41FA5}">
                      <a16:colId xmlns:a16="http://schemas.microsoft.com/office/drawing/2014/main" val="2493369671"/>
                    </a:ext>
                  </a:extLst>
                </a:gridCol>
                <a:gridCol w="774700">
                  <a:extLst>
                    <a:ext uri="{9D8B030D-6E8A-4147-A177-3AD203B41FA5}">
                      <a16:colId xmlns:a16="http://schemas.microsoft.com/office/drawing/2014/main" val="3441144261"/>
                    </a:ext>
                  </a:extLst>
                </a:gridCol>
                <a:gridCol w="963704">
                  <a:extLst>
                    <a:ext uri="{9D8B030D-6E8A-4147-A177-3AD203B41FA5}">
                      <a16:colId xmlns:a16="http://schemas.microsoft.com/office/drawing/2014/main" val="1657686998"/>
                    </a:ext>
                  </a:extLst>
                </a:gridCol>
                <a:gridCol w="921871">
                  <a:extLst>
                    <a:ext uri="{9D8B030D-6E8A-4147-A177-3AD203B41FA5}">
                      <a16:colId xmlns:a16="http://schemas.microsoft.com/office/drawing/2014/main" val="3804258427"/>
                    </a:ext>
                  </a:extLst>
                </a:gridCol>
                <a:gridCol w="921871">
                  <a:extLst>
                    <a:ext uri="{9D8B030D-6E8A-4147-A177-3AD203B41FA5}">
                      <a16:colId xmlns:a16="http://schemas.microsoft.com/office/drawing/2014/main" val="1823067803"/>
                    </a:ext>
                  </a:extLst>
                </a:gridCol>
                <a:gridCol w="921871">
                  <a:extLst>
                    <a:ext uri="{9D8B030D-6E8A-4147-A177-3AD203B41FA5}">
                      <a16:colId xmlns:a16="http://schemas.microsoft.com/office/drawing/2014/main" val="373674632"/>
                    </a:ext>
                  </a:extLst>
                </a:gridCol>
                <a:gridCol w="921871">
                  <a:extLst>
                    <a:ext uri="{9D8B030D-6E8A-4147-A177-3AD203B41FA5}">
                      <a16:colId xmlns:a16="http://schemas.microsoft.com/office/drawing/2014/main" val="3372858945"/>
                    </a:ext>
                  </a:extLst>
                </a:gridCol>
                <a:gridCol w="921871">
                  <a:extLst>
                    <a:ext uri="{9D8B030D-6E8A-4147-A177-3AD203B41FA5}">
                      <a16:colId xmlns:a16="http://schemas.microsoft.com/office/drawing/2014/main" val="3433725107"/>
                    </a:ext>
                  </a:extLst>
                </a:gridCol>
                <a:gridCol w="921871">
                  <a:extLst>
                    <a:ext uri="{9D8B030D-6E8A-4147-A177-3AD203B41FA5}">
                      <a16:colId xmlns:a16="http://schemas.microsoft.com/office/drawing/2014/main" val="2365682015"/>
                    </a:ext>
                  </a:extLst>
                </a:gridCol>
                <a:gridCol w="921871">
                  <a:extLst>
                    <a:ext uri="{9D8B030D-6E8A-4147-A177-3AD203B41FA5}">
                      <a16:colId xmlns:a16="http://schemas.microsoft.com/office/drawing/2014/main" val="2047993203"/>
                    </a:ext>
                  </a:extLst>
                </a:gridCol>
              </a:tblGrid>
              <a:tr h="0">
                <a:tc rowSpan="2">
                  <a:txBody>
                    <a:bodyPr/>
                    <a:lstStyle/>
                    <a:p>
                      <a:pPr algn="ctr"/>
                      <a:r>
                        <a:rPr lang="en-GB" sz="900" dirty="0"/>
                        <a:t>Direction of impac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en-GB" sz="900" dirty="0"/>
                        <a:t>Climate risk</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8">
                  <a:txBody>
                    <a:bodyPr/>
                    <a:lstStyle/>
                    <a:p>
                      <a:pPr algn="ctr"/>
                      <a:r>
                        <a:rPr lang="en-GB" sz="800" dirty="0"/>
                        <a:t>The company’s stakeholders</a:t>
                      </a:r>
                      <a:endParaRPr lang="en-US" sz="8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26322507"/>
                  </a:ext>
                </a:extLst>
              </a:tr>
              <a:tr h="213360">
                <a:tc vMerge="1">
                  <a:txBody>
                    <a:bodyPr/>
                    <a:lstStyle/>
                    <a:p>
                      <a:pPr algn="ctr"/>
                      <a:endParaRPr lang="en-US" sz="9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vMerge="1">
                  <a:txBody>
                    <a:bodyPr/>
                    <a:lstStyle/>
                    <a:p>
                      <a:endParaRPr lang="en-US" sz="9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b="1" dirty="0">
                          <a:solidFill>
                            <a:schemeClr val="bg1"/>
                          </a:solidFill>
                        </a:rPr>
                        <a:t>Customers</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Employees</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Distribution</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Share-holders</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Society</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Regulator and Government</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Rating agencies</a:t>
                      </a: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800" b="1" dirty="0">
                          <a:solidFill>
                            <a:schemeClr val="bg1"/>
                          </a:solidFill>
                        </a:rPr>
                        <a:t>Third party providers</a:t>
                      </a:r>
                      <a:endParaRPr lang="en-US" sz="800" b="1" dirty="0">
                        <a:solidFill>
                          <a:schemeClr val="bg1"/>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800" b="1" dirty="0">
                        <a:solidFill>
                          <a:schemeClr val="bg1"/>
                        </a:solidFill>
                      </a:endParaRPr>
                    </a:p>
                    <a:p>
                      <a:pPr algn="ctr"/>
                      <a:endParaRPr lang="en-US" sz="8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918454387"/>
                  </a:ext>
                </a:extLst>
              </a:tr>
              <a:tr h="370840">
                <a:tc rowSpan="2">
                  <a:txBody>
                    <a:bodyPr/>
                    <a:lstStyle/>
                    <a:p>
                      <a:pPr algn="ctr"/>
                      <a:r>
                        <a:rPr lang="en-GB" sz="900" dirty="0"/>
                        <a:t>Impact </a:t>
                      </a:r>
                    </a:p>
                    <a:p>
                      <a:pPr algn="ctr"/>
                      <a:r>
                        <a:rPr lang="en-GB" sz="900" dirty="0"/>
                        <a:t>on the company</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dirty="0"/>
                        <a:t>Transition risk</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9862842"/>
                  </a:ext>
                </a:extLst>
              </a:tr>
              <a:tr h="370840">
                <a:tc vMerge="1">
                  <a:txBody>
                    <a:bodyPr/>
                    <a:lstStyle/>
                    <a:p>
                      <a:endParaRPr lang="en-US"/>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dirty="0"/>
                        <a:t>Physical risk</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6056796"/>
                  </a:ext>
                </a:extLst>
              </a:tr>
              <a:tr h="370840">
                <a:tc rowSpan="2">
                  <a:txBody>
                    <a:bodyPr/>
                    <a:lstStyle/>
                    <a:p>
                      <a:pPr algn="ctr"/>
                      <a:r>
                        <a:rPr lang="en-GB" sz="900" dirty="0"/>
                        <a:t>Impact from the company</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900" dirty="0"/>
                        <a:t>Transition risk</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96048970"/>
                  </a:ext>
                </a:extLst>
              </a:tr>
              <a:tr h="370840">
                <a:tc vMerge="1">
                  <a:txBody>
                    <a:bodyPr/>
                    <a:lstStyle/>
                    <a:p>
                      <a:endParaRPr lang="en-US"/>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900" dirty="0"/>
                        <a:t>Physical risk</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dirty="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GB" sz="900" b="0" i="0" u="none" strike="noStrike" kern="1200" cap="none" spc="0" normalizeH="0" baseline="0" noProof="0" dirty="0">
                          <a:ln>
                            <a:noFill/>
                          </a:ln>
                          <a:solidFill>
                            <a:srgbClr val="687379"/>
                          </a:solidFill>
                          <a:effectLst/>
                          <a:uLnTx/>
                          <a:uFillTx/>
                          <a:latin typeface="Verdana"/>
                          <a:ea typeface="+mn-ea"/>
                          <a:cs typeface="+mn-cs"/>
                        </a:rPr>
                        <a:t>?</a:t>
                      </a:r>
                      <a:endParaRPr lang="en-US" sz="9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0277046"/>
                  </a:ext>
                </a:extLst>
              </a:tr>
            </a:tbl>
          </a:graphicData>
        </a:graphic>
      </p:graphicFrame>
    </p:spTree>
    <p:extLst>
      <p:ext uri="{BB962C8B-B14F-4D97-AF65-F5344CB8AC3E}">
        <p14:creationId xmlns:p14="http://schemas.microsoft.com/office/powerpoint/2010/main" val="39828989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E3C8C-D526-25FE-3700-24E49BDFCD89}"/>
              </a:ext>
            </a:extLst>
          </p:cNvPr>
          <p:cNvSpPr>
            <a:spLocks noGrp="1"/>
          </p:cNvSpPr>
          <p:nvPr>
            <p:ph type="title"/>
          </p:nvPr>
        </p:nvSpPr>
        <p:spPr/>
        <p:txBody>
          <a:bodyPr/>
          <a:lstStyle/>
          <a:p>
            <a:r>
              <a:rPr lang="en-GB" dirty="0"/>
              <a:t>How is Prudential adapting?</a:t>
            </a:r>
            <a:endParaRPr lang="en-US" dirty="0"/>
          </a:p>
        </p:txBody>
      </p:sp>
      <p:sp>
        <p:nvSpPr>
          <p:cNvPr id="3" name="Text Placeholder 2">
            <a:extLst>
              <a:ext uri="{FF2B5EF4-FFF2-40B4-BE49-F238E27FC236}">
                <a16:creationId xmlns:a16="http://schemas.microsoft.com/office/drawing/2014/main" id="{249BD466-8076-E515-340D-F4E475F6B976}"/>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E79FB8BA-50AE-1F1E-DA56-ACF82A628F02}"/>
              </a:ext>
            </a:extLst>
          </p:cNvPr>
          <p:cNvSpPr>
            <a:spLocks noGrp="1"/>
          </p:cNvSpPr>
          <p:nvPr>
            <p:ph sz="quarter" idx="10"/>
          </p:nvPr>
        </p:nvSpPr>
        <p:spPr/>
        <p:txBody>
          <a:bodyPr/>
          <a:lstStyle/>
          <a:p>
            <a:r>
              <a:rPr lang="en-GB" dirty="0"/>
              <a:t>Prudential has developed its Sustainability strategy, which is in full alignment with its strategic strategy</a:t>
            </a:r>
            <a:endParaRPr lang="en-US" dirty="0"/>
          </a:p>
        </p:txBody>
      </p:sp>
      <p:pic>
        <p:nvPicPr>
          <p:cNvPr id="7" name="Picture 6">
            <a:extLst>
              <a:ext uri="{FF2B5EF4-FFF2-40B4-BE49-F238E27FC236}">
                <a16:creationId xmlns:a16="http://schemas.microsoft.com/office/drawing/2014/main" id="{44ED7596-2C9B-CF01-74EA-2AB597C7B34E}"/>
              </a:ext>
            </a:extLst>
          </p:cNvPr>
          <p:cNvPicPr>
            <a:picLocks noChangeAspect="1"/>
          </p:cNvPicPr>
          <p:nvPr/>
        </p:nvPicPr>
        <p:blipFill rotWithShape="1">
          <a:blip r:embed="rId2"/>
          <a:srcRect l="821" t="1598" r="2106"/>
          <a:stretch/>
        </p:blipFill>
        <p:spPr>
          <a:xfrm>
            <a:off x="76200" y="1543050"/>
            <a:ext cx="9058420" cy="3251200"/>
          </a:xfrm>
          <a:prstGeom prst="rect">
            <a:avLst/>
          </a:prstGeom>
        </p:spPr>
      </p:pic>
    </p:spTree>
    <p:extLst>
      <p:ext uri="{BB962C8B-B14F-4D97-AF65-F5344CB8AC3E}">
        <p14:creationId xmlns:p14="http://schemas.microsoft.com/office/powerpoint/2010/main" val="15220517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E3C8C-D526-25FE-3700-24E49BDFCD89}"/>
              </a:ext>
            </a:extLst>
          </p:cNvPr>
          <p:cNvSpPr>
            <a:spLocks noGrp="1"/>
          </p:cNvSpPr>
          <p:nvPr>
            <p:ph type="title"/>
          </p:nvPr>
        </p:nvSpPr>
        <p:spPr/>
        <p:txBody>
          <a:bodyPr/>
          <a:lstStyle/>
          <a:p>
            <a:r>
              <a:rPr lang="en-GB" dirty="0"/>
              <a:t>What is Prudential’s carbon footprint?</a:t>
            </a:r>
            <a:endParaRPr lang="en-US" dirty="0"/>
          </a:p>
        </p:txBody>
      </p:sp>
      <p:sp>
        <p:nvSpPr>
          <p:cNvPr id="3" name="Text Placeholder 2">
            <a:extLst>
              <a:ext uri="{FF2B5EF4-FFF2-40B4-BE49-F238E27FC236}">
                <a16:creationId xmlns:a16="http://schemas.microsoft.com/office/drawing/2014/main" id="{249BD466-8076-E515-340D-F4E475F6B976}"/>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E79FB8BA-50AE-1F1E-DA56-ACF82A628F02}"/>
              </a:ext>
            </a:extLst>
          </p:cNvPr>
          <p:cNvSpPr>
            <a:spLocks noGrp="1"/>
          </p:cNvSpPr>
          <p:nvPr>
            <p:ph sz="quarter" idx="10"/>
          </p:nvPr>
        </p:nvSpPr>
        <p:spPr/>
        <p:txBody>
          <a:bodyPr/>
          <a:lstStyle/>
          <a:p>
            <a:r>
              <a:rPr lang="en-GB" dirty="0"/>
              <a:t>As a life and health insurer, almost all our carbon emissions are ‘financed emissions’</a:t>
            </a:r>
          </a:p>
        </p:txBody>
      </p:sp>
      <p:pic>
        <p:nvPicPr>
          <p:cNvPr id="8" name="Picture 7">
            <a:extLst>
              <a:ext uri="{FF2B5EF4-FFF2-40B4-BE49-F238E27FC236}">
                <a16:creationId xmlns:a16="http://schemas.microsoft.com/office/drawing/2014/main" id="{F09384B9-A87C-F41F-CB33-3FD986CF3825}"/>
              </a:ext>
            </a:extLst>
          </p:cNvPr>
          <p:cNvPicPr>
            <a:picLocks noChangeAspect="1"/>
          </p:cNvPicPr>
          <p:nvPr/>
        </p:nvPicPr>
        <p:blipFill>
          <a:blip r:embed="rId2"/>
          <a:stretch>
            <a:fillRect/>
          </a:stretch>
        </p:blipFill>
        <p:spPr>
          <a:xfrm>
            <a:off x="1239634" y="1321510"/>
            <a:ext cx="3031784" cy="3732573"/>
          </a:xfrm>
          <a:prstGeom prst="rect">
            <a:avLst/>
          </a:prstGeom>
        </p:spPr>
      </p:pic>
      <p:pic>
        <p:nvPicPr>
          <p:cNvPr id="5" name="Picture 4">
            <a:extLst>
              <a:ext uri="{FF2B5EF4-FFF2-40B4-BE49-F238E27FC236}">
                <a16:creationId xmlns:a16="http://schemas.microsoft.com/office/drawing/2014/main" id="{E63735B1-6C09-B998-6EB2-968F24D79849}"/>
              </a:ext>
            </a:extLst>
          </p:cNvPr>
          <p:cNvPicPr>
            <a:picLocks noChangeAspect="1"/>
          </p:cNvPicPr>
          <p:nvPr/>
        </p:nvPicPr>
        <p:blipFill>
          <a:blip r:embed="rId3"/>
          <a:stretch>
            <a:fillRect/>
          </a:stretch>
        </p:blipFill>
        <p:spPr>
          <a:xfrm>
            <a:off x="4952546" y="1968016"/>
            <a:ext cx="3853033" cy="2167331"/>
          </a:xfrm>
          <a:prstGeom prst="rect">
            <a:avLst/>
          </a:prstGeom>
        </p:spPr>
      </p:pic>
    </p:spTree>
    <p:extLst>
      <p:ext uri="{BB962C8B-B14F-4D97-AF65-F5344CB8AC3E}">
        <p14:creationId xmlns:p14="http://schemas.microsoft.com/office/powerpoint/2010/main" val="38105304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E3C8C-D526-25FE-3700-24E49BDFCD89}"/>
              </a:ext>
            </a:extLst>
          </p:cNvPr>
          <p:cNvSpPr>
            <a:spLocks noGrp="1"/>
          </p:cNvSpPr>
          <p:nvPr>
            <p:ph type="title"/>
          </p:nvPr>
        </p:nvSpPr>
        <p:spPr/>
        <p:txBody>
          <a:bodyPr/>
          <a:lstStyle/>
          <a:p>
            <a:r>
              <a:rPr lang="en-GB" dirty="0"/>
              <a:t>What are Prudential’s sustainability targets?</a:t>
            </a:r>
            <a:endParaRPr lang="en-US" dirty="0"/>
          </a:p>
        </p:txBody>
      </p:sp>
      <p:sp>
        <p:nvSpPr>
          <p:cNvPr id="3" name="Text Placeholder 2">
            <a:extLst>
              <a:ext uri="{FF2B5EF4-FFF2-40B4-BE49-F238E27FC236}">
                <a16:creationId xmlns:a16="http://schemas.microsoft.com/office/drawing/2014/main" id="{249BD466-8076-E515-340D-F4E475F6B976}"/>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E79FB8BA-50AE-1F1E-DA56-ACF82A628F02}"/>
              </a:ext>
            </a:extLst>
          </p:cNvPr>
          <p:cNvSpPr>
            <a:spLocks noGrp="1"/>
          </p:cNvSpPr>
          <p:nvPr>
            <p:ph sz="quarter" idx="10"/>
          </p:nvPr>
        </p:nvSpPr>
        <p:spPr/>
        <p:txBody>
          <a:bodyPr/>
          <a:lstStyle/>
          <a:p>
            <a:r>
              <a:rPr lang="en-GB" dirty="0"/>
              <a:t>It is important to use a suite of targets as well as short and long term targets</a:t>
            </a:r>
            <a:endParaRPr lang="en-US" dirty="0"/>
          </a:p>
        </p:txBody>
      </p:sp>
      <p:pic>
        <p:nvPicPr>
          <p:cNvPr id="7" name="Picture 6">
            <a:extLst>
              <a:ext uri="{FF2B5EF4-FFF2-40B4-BE49-F238E27FC236}">
                <a16:creationId xmlns:a16="http://schemas.microsoft.com/office/drawing/2014/main" id="{E362C2E8-5293-A782-E2C6-9CDF415E6A2E}"/>
              </a:ext>
            </a:extLst>
          </p:cNvPr>
          <p:cNvPicPr>
            <a:picLocks noChangeAspect="1"/>
          </p:cNvPicPr>
          <p:nvPr/>
        </p:nvPicPr>
        <p:blipFill>
          <a:blip r:embed="rId2"/>
          <a:stretch>
            <a:fillRect/>
          </a:stretch>
        </p:blipFill>
        <p:spPr>
          <a:xfrm>
            <a:off x="971197" y="1396484"/>
            <a:ext cx="6864703" cy="3372023"/>
          </a:xfrm>
          <a:prstGeom prst="rect">
            <a:avLst/>
          </a:prstGeom>
        </p:spPr>
      </p:pic>
    </p:spTree>
    <p:extLst>
      <p:ext uri="{BB962C8B-B14F-4D97-AF65-F5344CB8AC3E}">
        <p14:creationId xmlns:p14="http://schemas.microsoft.com/office/powerpoint/2010/main" val="3492849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5D96D-609E-FAA0-F1C2-1E73CFCFD327}"/>
              </a:ext>
            </a:extLst>
          </p:cNvPr>
          <p:cNvSpPr>
            <a:spLocks noGrp="1"/>
          </p:cNvSpPr>
          <p:nvPr>
            <p:ph type="title"/>
          </p:nvPr>
        </p:nvSpPr>
        <p:spPr/>
        <p:txBody>
          <a:bodyPr/>
          <a:lstStyle/>
          <a:p>
            <a:r>
              <a:rPr lang="en-GB" dirty="0"/>
              <a:t>What is responsible investment?</a:t>
            </a:r>
            <a:endParaRPr lang="en-US" dirty="0"/>
          </a:p>
        </p:txBody>
      </p:sp>
      <p:sp>
        <p:nvSpPr>
          <p:cNvPr id="3" name="Text Placeholder 2">
            <a:extLst>
              <a:ext uri="{FF2B5EF4-FFF2-40B4-BE49-F238E27FC236}">
                <a16:creationId xmlns:a16="http://schemas.microsoft.com/office/drawing/2014/main" id="{3943FC2B-E78E-A133-2307-0BF739D5B49E}"/>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EFEF4615-8733-2714-4C61-5FA893AE9069}"/>
              </a:ext>
            </a:extLst>
          </p:cNvPr>
          <p:cNvSpPr>
            <a:spLocks noGrp="1"/>
          </p:cNvSpPr>
          <p:nvPr>
            <p:ph sz="quarter" idx="10"/>
          </p:nvPr>
        </p:nvSpPr>
        <p:spPr/>
        <p:txBody>
          <a:bodyPr/>
          <a:lstStyle/>
          <a:p>
            <a:r>
              <a:rPr lang="en-GB" dirty="0"/>
              <a:t>As custodians of policyholder and shareholder funds, we have a fiduciary duty</a:t>
            </a:r>
            <a:endParaRPr lang="en-US" dirty="0"/>
          </a:p>
        </p:txBody>
      </p:sp>
      <p:pic>
        <p:nvPicPr>
          <p:cNvPr id="5" name="Picture 4">
            <a:extLst>
              <a:ext uri="{FF2B5EF4-FFF2-40B4-BE49-F238E27FC236}">
                <a16:creationId xmlns:a16="http://schemas.microsoft.com/office/drawing/2014/main" id="{3854B645-652A-C35A-01C1-97143993838D}"/>
              </a:ext>
            </a:extLst>
          </p:cNvPr>
          <p:cNvPicPr>
            <a:picLocks noChangeAspect="1"/>
          </p:cNvPicPr>
          <p:nvPr/>
        </p:nvPicPr>
        <p:blipFill rotWithShape="1">
          <a:blip r:embed="rId2"/>
          <a:srcRect t="6424" r="1628"/>
          <a:stretch/>
        </p:blipFill>
        <p:spPr>
          <a:xfrm>
            <a:off x="850900" y="1324106"/>
            <a:ext cx="6908800" cy="3635244"/>
          </a:xfrm>
          <a:prstGeom prst="rect">
            <a:avLst/>
          </a:prstGeom>
        </p:spPr>
      </p:pic>
      <p:sp>
        <p:nvSpPr>
          <p:cNvPr id="6" name="Flowchart: Process 5">
            <a:extLst>
              <a:ext uri="{FF2B5EF4-FFF2-40B4-BE49-F238E27FC236}">
                <a16:creationId xmlns:a16="http://schemas.microsoft.com/office/drawing/2014/main" id="{5FC42BAE-1EE3-68C6-FE4D-EE0CDC69B2E8}"/>
              </a:ext>
            </a:extLst>
          </p:cNvPr>
          <p:cNvSpPr/>
          <p:nvPr/>
        </p:nvSpPr>
        <p:spPr>
          <a:xfrm>
            <a:off x="5600700" y="1276350"/>
            <a:ext cx="1098550" cy="3276405"/>
          </a:xfrm>
          <a:prstGeom prst="flowChartProcess">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 name="Flowchart: Process 6">
            <a:extLst>
              <a:ext uri="{FF2B5EF4-FFF2-40B4-BE49-F238E27FC236}">
                <a16:creationId xmlns:a16="http://schemas.microsoft.com/office/drawing/2014/main" id="{9AE9B491-79F9-DAC4-AE29-0D5C46C2D5A7}"/>
              </a:ext>
            </a:extLst>
          </p:cNvPr>
          <p:cNvSpPr/>
          <p:nvPr/>
        </p:nvSpPr>
        <p:spPr>
          <a:xfrm>
            <a:off x="3501189" y="1276349"/>
            <a:ext cx="2075447" cy="3276405"/>
          </a:xfrm>
          <a:prstGeom prst="flowChartProcess">
            <a:avLst/>
          </a:prstGeom>
          <a:noFill/>
          <a:ln w="127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3560669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0A6A-BDC8-148C-0CA2-57084EF8F00B}"/>
              </a:ext>
            </a:extLst>
          </p:cNvPr>
          <p:cNvSpPr>
            <a:spLocks noGrp="1"/>
          </p:cNvSpPr>
          <p:nvPr>
            <p:ph type="title"/>
          </p:nvPr>
        </p:nvSpPr>
        <p:spPr/>
        <p:txBody>
          <a:bodyPr/>
          <a:lstStyle/>
          <a:p>
            <a:r>
              <a:rPr lang="en-US" dirty="0"/>
              <a:t>What are the challenges for transition finance?</a:t>
            </a:r>
          </a:p>
        </p:txBody>
      </p:sp>
      <p:sp>
        <p:nvSpPr>
          <p:cNvPr id="3" name="Text Placeholder 2">
            <a:extLst>
              <a:ext uri="{FF2B5EF4-FFF2-40B4-BE49-F238E27FC236}">
                <a16:creationId xmlns:a16="http://schemas.microsoft.com/office/drawing/2014/main" id="{5CC5755E-2C9F-CF8C-8701-3B5FF3FDB828}"/>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1E6D8E55-CCCC-DF54-6896-FCDB847D6DDD}"/>
              </a:ext>
            </a:extLst>
          </p:cNvPr>
          <p:cNvSpPr>
            <a:spLocks noGrp="1"/>
          </p:cNvSpPr>
          <p:nvPr>
            <p:ph sz="quarter" idx="10"/>
          </p:nvPr>
        </p:nvSpPr>
        <p:spPr>
          <a:xfrm>
            <a:off x="830180" y="1400589"/>
            <a:ext cx="4102767" cy="2953115"/>
          </a:xfrm>
        </p:spPr>
        <p:txBody>
          <a:bodyPr>
            <a:normAutofit/>
          </a:bodyPr>
          <a:lstStyle/>
          <a:p>
            <a:pPr marL="0" indent="0">
              <a:buNone/>
            </a:pPr>
            <a:r>
              <a:rPr lang="en-US" sz="1100" dirty="0"/>
              <a:t>The main challenge for Prudential is the lack of Financing Transition opportunities across emerging markets. </a:t>
            </a:r>
          </a:p>
          <a:p>
            <a:pPr marL="0" indent="0">
              <a:buNone/>
            </a:pPr>
            <a:endParaRPr lang="en-US" sz="1100" dirty="0"/>
          </a:p>
          <a:p>
            <a:pPr marL="0" indent="0">
              <a:buNone/>
            </a:pPr>
            <a:r>
              <a:rPr lang="en-US" sz="1100" dirty="0"/>
              <a:t>There are many different reasons cited for this lag: </a:t>
            </a:r>
          </a:p>
          <a:p>
            <a:r>
              <a:rPr lang="en-US" sz="1100" dirty="0"/>
              <a:t>Lack of </a:t>
            </a:r>
            <a:r>
              <a:rPr lang="en-US" sz="1100" dirty="0" err="1"/>
              <a:t>localised</a:t>
            </a:r>
            <a:r>
              <a:rPr lang="en-US" sz="1100" dirty="0"/>
              <a:t> frameworks </a:t>
            </a:r>
          </a:p>
          <a:p>
            <a:endParaRPr lang="en-US" sz="1100" dirty="0"/>
          </a:p>
          <a:p>
            <a:r>
              <a:rPr lang="en-US" sz="1100" dirty="0"/>
              <a:t>Need for more flexible sources of capital </a:t>
            </a:r>
          </a:p>
          <a:p>
            <a:endParaRPr lang="en-US" sz="1100" dirty="0"/>
          </a:p>
          <a:p>
            <a:r>
              <a:rPr lang="en-US" sz="1100" dirty="0"/>
              <a:t>Lack of robust data </a:t>
            </a:r>
          </a:p>
        </p:txBody>
      </p:sp>
      <p:pic>
        <p:nvPicPr>
          <p:cNvPr id="5" name="Picture 4">
            <a:extLst>
              <a:ext uri="{FF2B5EF4-FFF2-40B4-BE49-F238E27FC236}">
                <a16:creationId xmlns:a16="http://schemas.microsoft.com/office/drawing/2014/main" id="{EBD7A3A6-1684-FC50-3E62-2797BDAAEFAC}"/>
              </a:ext>
            </a:extLst>
          </p:cNvPr>
          <p:cNvPicPr>
            <a:picLocks noChangeAspect="1"/>
          </p:cNvPicPr>
          <p:nvPr/>
        </p:nvPicPr>
        <p:blipFill>
          <a:blip r:embed="rId2"/>
          <a:stretch>
            <a:fillRect/>
          </a:stretch>
        </p:blipFill>
        <p:spPr>
          <a:xfrm>
            <a:off x="5392085" y="1400589"/>
            <a:ext cx="2493741" cy="2953115"/>
          </a:xfrm>
          <a:prstGeom prst="rect">
            <a:avLst/>
          </a:prstGeom>
        </p:spPr>
      </p:pic>
    </p:spTree>
    <p:extLst>
      <p:ext uri="{BB962C8B-B14F-4D97-AF65-F5344CB8AC3E}">
        <p14:creationId xmlns:p14="http://schemas.microsoft.com/office/powerpoint/2010/main" val="27208897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EFDEC8E-3554-7FE3-9A14-6D53B25BE018}"/>
              </a:ext>
            </a:extLst>
          </p:cNvPr>
          <p:cNvSpPr>
            <a:spLocks noGrp="1"/>
          </p:cNvSpPr>
          <p:nvPr>
            <p:ph sz="quarter" idx="10"/>
          </p:nvPr>
        </p:nvSpPr>
        <p:spPr/>
        <p:txBody>
          <a:bodyPr/>
          <a:lstStyle/>
          <a:p>
            <a:r>
              <a:rPr lang="en-US" dirty="0"/>
              <a:t>Internal governance </a:t>
            </a:r>
          </a:p>
          <a:p>
            <a:endParaRPr lang="en-US" dirty="0"/>
          </a:p>
          <a:p>
            <a:r>
              <a:rPr lang="en-US" dirty="0"/>
              <a:t>Expertise from multi disciplinary teams</a:t>
            </a:r>
          </a:p>
          <a:p>
            <a:endParaRPr lang="en-US" dirty="0"/>
          </a:p>
          <a:p>
            <a:r>
              <a:rPr lang="en-US" dirty="0"/>
              <a:t>Additional data </a:t>
            </a:r>
          </a:p>
          <a:p>
            <a:endParaRPr lang="en-US" dirty="0"/>
          </a:p>
          <a:p>
            <a:r>
              <a:rPr lang="en-US" dirty="0"/>
              <a:t>Engagement capability </a:t>
            </a:r>
          </a:p>
          <a:p>
            <a:endParaRPr lang="en-US" dirty="0"/>
          </a:p>
          <a:p>
            <a:r>
              <a:rPr lang="en-US" dirty="0"/>
              <a:t>Joining networks and bodies</a:t>
            </a:r>
          </a:p>
          <a:p>
            <a:endParaRPr lang="en-US" dirty="0"/>
          </a:p>
          <a:p>
            <a:endParaRPr lang="en-US" dirty="0"/>
          </a:p>
        </p:txBody>
      </p:sp>
      <p:sp>
        <p:nvSpPr>
          <p:cNvPr id="2" name="Title 1">
            <a:extLst>
              <a:ext uri="{FF2B5EF4-FFF2-40B4-BE49-F238E27FC236}">
                <a16:creationId xmlns:a16="http://schemas.microsoft.com/office/drawing/2014/main" id="{0CA28A62-4EDC-A0B7-2184-2904FDE00B0C}"/>
              </a:ext>
            </a:extLst>
          </p:cNvPr>
          <p:cNvSpPr>
            <a:spLocks noGrp="1"/>
          </p:cNvSpPr>
          <p:nvPr>
            <p:ph type="title"/>
          </p:nvPr>
        </p:nvSpPr>
        <p:spPr/>
        <p:txBody>
          <a:bodyPr/>
          <a:lstStyle/>
          <a:p>
            <a:r>
              <a:rPr lang="en-US" dirty="0"/>
              <a:t>What has been needed for all the above? </a:t>
            </a:r>
          </a:p>
        </p:txBody>
      </p:sp>
      <p:sp>
        <p:nvSpPr>
          <p:cNvPr id="3" name="Text Placeholder 2">
            <a:extLst>
              <a:ext uri="{FF2B5EF4-FFF2-40B4-BE49-F238E27FC236}">
                <a16:creationId xmlns:a16="http://schemas.microsoft.com/office/drawing/2014/main" id="{E3892A41-EAA5-D4F3-395D-2D7EE1544781}"/>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694658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EFDEC8E-3554-7FE3-9A14-6D53B25BE018}"/>
              </a:ext>
            </a:extLst>
          </p:cNvPr>
          <p:cNvSpPr>
            <a:spLocks noGrp="1"/>
          </p:cNvSpPr>
          <p:nvPr>
            <p:ph sz="quarter" idx="10"/>
          </p:nvPr>
        </p:nvSpPr>
        <p:spPr/>
        <p:txBody>
          <a:bodyPr/>
          <a:lstStyle/>
          <a:p>
            <a:r>
              <a:rPr lang="en-US" dirty="0"/>
              <a:t>Get to understand the problem, because Africa is being impacted more than the average</a:t>
            </a:r>
          </a:p>
          <a:p>
            <a:r>
              <a:rPr lang="en-US" dirty="0"/>
              <a:t>Scenario tests are very useful</a:t>
            </a:r>
          </a:p>
          <a:p>
            <a:r>
              <a:rPr lang="en-US" dirty="0"/>
              <a:t>Climate change is not just material, but double material</a:t>
            </a:r>
          </a:p>
          <a:p>
            <a:r>
              <a:rPr lang="en-US" dirty="0"/>
              <a:t>There are risks, but also opportunities to be part of the solutions</a:t>
            </a:r>
          </a:p>
        </p:txBody>
      </p:sp>
      <p:sp>
        <p:nvSpPr>
          <p:cNvPr id="2" name="Title 1">
            <a:extLst>
              <a:ext uri="{FF2B5EF4-FFF2-40B4-BE49-F238E27FC236}">
                <a16:creationId xmlns:a16="http://schemas.microsoft.com/office/drawing/2014/main" id="{0CA28A62-4EDC-A0B7-2184-2904FDE00B0C}"/>
              </a:ext>
            </a:extLst>
          </p:cNvPr>
          <p:cNvSpPr>
            <a:spLocks noGrp="1"/>
          </p:cNvSpPr>
          <p:nvPr>
            <p:ph type="title"/>
          </p:nvPr>
        </p:nvSpPr>
        <p:spPr/>
        <p:txBody>
          <a:bodyPr/>
          <a:lstStyle/>
          <a:p>
            <a:r>
              <a:rPr lang="en-US" dirty="0"/>
              <a:t>Summary</a:t>
            </a:r>
          </a:p>
        </p:txBody>
      </p:sp>
      <p:sp>
        <p:nvSpPr>
          <p:cNvPr id="3" name="Text Placeholder 2">
            <a:extLst>
              <a:ext uri="{FF2B5EF4-FFF2-40B4-BE49-F238E27FC236}">
                <a16:creationId xmlns:a16="http://schemas.microsoft.com/office/drawing/2014/main" id="{E3892A41-EAA5-D4F3-395D-2D7EE1544781}"/>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8473038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FA0F6-69BD-650C-5CB9-11343DD3B13B}"/>
              </a:ext>
            </a:extLst>
          </p:cNvPr>
          <p:cNvSpPr>
            <a:spLocks noGrp="1"/>
          </p:cNvSpPr>
          <p:nvPr>
            <p:ph type="body" idx="11"/>
          </p:nvPr>
        </p:nvSpPr>
        <p:spPr>
          <a:xfrm>
            <a:off x="685800" y="461529"/>
            <a:ext cx="7196400" cy="424688"/>
          </a:xfrm>
        </p:spPr>
        <p:txBody>
          <a:bodyPr vert="horz" lIns="0" tIns="0" rIns="0" bIns="0" rtlCol="0" anchor="t" anchorCtr="0">
            <a:normAutofit/>
          </a:bodyPr>
          <a:lstStyle/>
          <a:p>
            <a:r>
              <a:rPr lang="en-US" b="0" kern="1200" baseline="0">
                <a:latin typeface="Verdana"/>
                <a:ea typeface="+mn-ea"/>
                <a:cs typeface="+mn-cs"/>
              </a:rPr>
              <a:t>Who I am</a:t>
            </a:r>
          </a:p>
        </p:txBody>
      </p:sp>
      <p:sp>
        <p:nvSpPr>
          <p:cNvPr id="13" name="Text Placeholder 2">
            <a:extLst>
              <a:ext uri="{FF2B5EF4-FFF2-40B4-BE49-F238E27FC236}">
                <a16:creationId xmlns:a16="http://schemas.microsoft.com/office/drawing/2014/main" id="{18AA444D-A667-DB44-CD74-7232AFDDDAD2}"/>
              </a:ext>
            </a:extLst>
          </p:cNvPr>
          <p:cNvSpPr>
            <a:spLocks noGrp="1"/>
          </p:cNvSpPr>
          <p:nvPr>
            <p:ph type="body" sz="quarter" idx="3"/>
          </p:nvPr>
        </p:nvSpPr>
        <p:spPr>
          <a:xfrm>
            <a:off x="685800" y="263620"/>
            <a:ext cx="7200026" cy="145837"/>
          </a:xfrm>
        </p:spPr>
        <p:txBody>
          <a:bodyPr/>
          <a:lstStyle/>
          <a:p>
            <a:endParaRPr lang="en-US"/>
          </a:p>
        </p:txBody>
      </p:sp>
      <p:sp>
        <p:nvSpPr>
          <p:cNvPr id="6" name="TextBox 5">
            <a:extLst>
              <a:ext uri="{FF2B5EF4-FFF2-40B4-BE49-F238E27FC236}">
                <a16:creationId xmlns:a16="http://schemas.microsoft.com/office/drawing/2014/main" id="{DB2896A3-51C6-E342-EC28-79EECA5EC230}"/>
              </a:ext>
            </a:extLst>
          </p:cNvPr>
          <p:cNvSpPr txBox="1"/>
          <p:nvPr/>
        </p:nvSpPr>
        <p:spPr>
          <a:xfrm>
            <a:off x="685800" y="1047750"/>
            <a:ext cx="3785038" cy="3657600"/>
          </a:xfrm>
          <a:prstGeom prst="rect">
            <a:avLst/>
          </a:prstGeom>
        </p:spPr>
        <p:txBody>
          <a:bodyPr vert="horz" lIns="9144" tIns="0" rIns="0" bIns="0" rtlCol="0">
            <a:normAutofit/>
          </a:bodyPr>
          <a:lstStyle/>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r>
              <a:rPr lang="en-US" sz="1100" baseline="0" dirty="0">
                <a:latin typeface="Verdana"/>
              </a:rPr>
              <a:t>Roelof Coertze is a deeply experienced actuary who is passionate about actuaries positively impacting the planet and society. </a:t>
            </a:r>
          </a:p>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endParaRPr lang="en-US" sz="1100" baseline="0" dirty="0">
              <a:latin typeface="Verdana"/>
            </a:endParaRPr>
          </a:p>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r>
              <a:rPr lang="en-US" sz="1100" baseline="0" dirty="0">
                <a:latin typeface="Verdana"/>
              </a:rPr>
              <a:t>Roelof was previously Prudential’s Group Director of Climate Policy and is currently its Africa Head of Enterprise Risk Management. In his roles, he has helped set, monitor and meet climate targets for carbon reduction and responsible investment, developed and performed financial climate scenario testing, and lead authored public ESG and TCFD disclosures. </a:t>
            </a:r>
          </a:p>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endParaRPr lang="en-US" sz="1100" baseline="0" dirty="0">
              <a:latin typeface="Verdana"/>
            </a:endParaRPr>
          </a:p>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r>
              <a:rPr lang="en-US" sz="1100" baseline="0" dirty="0">
                <a:latin typeface="Verdana"/>
              </a:rPr>
              <a:t>Roelof is co-chair of the Actuaries Carbon Collaboration with the past IFOA president. He continues to contribute to IFOA working parties, including climate and risk management. </a:t>
            </a:r>
          </a:p>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endParaRPr lang="en-US" sz="1100" baseline="0" dirty="0">
              <a:latin typeface="Verdana"/>
            </a:endParaRPr>
          </a:p>
          <a:p>
            <a:pPr marL="171450" indent="-171450">
              <a:lnSpc>
                <a:spcPct val="90000"/>
              </a:lnSpc>
              <a:spcAft>
                <a:spcPts val="600"/>
              </a:spcAft>
              <a:buFont typeface="Arial" panose="020B0604020202020204" pitchFamily="34" charset="0"/>
              <a:buChar char="•"/>
              <a:tabLst>
                <a:tab pos="450850" algn="l"/>
                <a:tab pos="909638" algn="l"/>
                <a:tab pos="1368425" algn="l"/>
                <a:tab pos="1814513" algn="l"/>
              </a:tabLst>
            </a:pPr>
            <a:r>
              <a:rPr lang="en-US" sz="1100" baseline="0" dirty="0">
                <a:latin typeface="Verdana"/>
              </a:rPr>
              <a:t>Very importantly, he is a father and wants to help leave the planet in good shape for his two sons. </a:t>
            </a:r>
          </a:p>
        </p:txBody>
      </p:sp>
      <p:pic>
        <p:nvPicPr>
          <p:cNvPr id="8" name="Content Placeholder 7" descr="Roelof Coertze&#10;">
            <a:extLst>
              <a:ext uri="{FF2B5EF4-FFF2-40B4-BE49-F238E27FC236}">
                <a16:creationId xmlns:a16="http://schemas.microsoft.com/office/drawing/2014/main" id="{46AA8C2B-B836-7776-A070-9F43E2D69D1A}"/>
              </a:ext>
            </a:extLst>
          </p:cNvPr>
          <p:cNvPicPr>
            <a:picLocks noGrp="1" noChangeAspect="1"/>
          </p:cNvPicPr>
          <p:nvPr>
            <p:ph sz="quarter" idx="13"/>
          </p:nvPr>
        </p:nvPicPr>
        <p:blipFill rotWithShape="1">
          <a:blip r:embed="rId2"/>
          <a:srcRect l="25462" r="5463" b="1"/>
          <a:stretch/>
        </p:blipFill>
        <p:spPr>
          <a:xfrm>
            <a:off x="4635062" y="1047750"/>
            <a:ext cx="3785038" cy="3657600"/>
          </a:xfrm>
          <a:noFill/>
        </p:spPr>
      </p:pic>
    </p:spTree>
    <p:extLst>
      <p:ext uri="{BB962C8B-B14F-4D97-AF65-F5344CB8AC3E}">
        <p14:creationId xmlns:p14="http://schemas.microsoft.com/office/powerpoint/2010/main" val="25243975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676E7A-3A4C-B08E-4B1B-60AE25C9CFC7}"/>
              </a:ext>
            </a:extLst>
          </p:cNvPr>
          <p:cNvSpPr>
            <a:spLocks noGrp="1"/>
          </p:cNvSpPr>
          <p:nvPr>
            <p:ph type="title"/>
          </p:nvPr>
        </p:nvSpPr>
        <p:spPr/>
        <p:txBody>
          <a:bodyPr/>
          <a:lstStyle/>
          <a:p>
            <a:r>
              <a:rPr lang="en-GB" dirty="0"/>
              <a:t>Final comment</a:t>
            </a:r>
            <a:endParaRPr lang="en-US" dirty="0"/>
          </a:p>
        </p:txBody>
      </p:sp>
      <p:sp>
        <p:nvSpPr>
          <p:cNvPr id="3" name="Text Placeholder 2">
            <a:extLst>
              <a:ext uri="{FF2B5EF4-FFF2-40B4-BE49-F238E27FC236}">
                <a16:creationId xmlns:a16="http://schemas.microsoft.com/office/drawing/2014/main" id="{484BF579-B1D4-B012-A659-74DB6C666385}"/>
              </a:ext>
            </a:extLst>
          </p:cNvPr>
          <p:cNvSpPr>
            <a:spLocks noGrp="1"/>
          </p:cNvSpPr>
          <p:nvPr>
            <p:ph type="body" sz="quarter" idx="3"/>
          </p:nvPr>
        </p:nvSpPr>
        <p:spPr/>
        <p:txBody>
          <a:bodyPr/>
          <a:lstStyle/>
          <a:p>
            <a:endParaRPr lang="en-US"/>
          </a:p>
        </p:txBody>
      </p:sp>
      <p:sp>
        <p:nvSpPr>
          <p:cNvPr id="5" name="TextBox 4">
            <a:extLst>
              <a:ext uri="{FF2B5EF4-FFF2-40B4-BE49-F238E27FC236}">
                <a16:creationId xmlns:a16="http://schemas.microsoft.com/office/drawing/2014/main" id="{F5D5107B-5638-57E7-BF40-E1F7529685D8}"/>
              </a:ext>
            </a:extLst>
          </p:cNvPr>
          <p:cNvSpPr txBox="1"/>
          <p:nvPr/>
        </p:nvSpPr>
        <p:spPr>
          <a:xfrm>
            <a:off x="1470795" y="1444026"/>
            <a:ext cx="3504263" cy="2123658"/>
          </a:xfrm>
          <a:prstGeom prst="rect">
            <a:avLst/>
          </a:prstGeom>
          <a:noFill/>
        </p:spPr>
        <p:txBody>
          <a:bodyPr wrap="square">
            <a:spAutoFit/>
          </a:bodyPr>
          <a:lstStyle/>
          <a:p>
            <a:r>
              <a:rPr lang="en-GB" sz="3300" i="1" dirty="0">
                <a:solidFill>
                  <a:srgbClr val="687379"/>
                </a:solidFill>
              </a:rPr>
              <a:t>“Don’t let perfect </a:t>
            </a:r>
          </a:p>
          <a:p>
            <a:r>
              <a:rPr lang="en-GB" sz="3300" i="1" dirty="0">
                <a:solidFill>
                  <a:srgbClr val="687379"/>
                </a:solidFill>
              </a:rPr>
              <a:t>stand in the way of good”</a:t>
            </a:r>
            <a:endParaRPr lang="en-US" sz="3300" i="1" dirty="0">
              <a:solidFill>
                <a:srgbClr val="687379"/>
              </a:solidFill>
            </a:endParaRPr>
          </a:p>
        </p:txBody>
      </p:sp>
      <p:pic>
        <p:nvPicPr>
          <p:cNvPr id="11" name="Picture 10">
            <a:extLst>
              <a:ext uri="{FF2B5EF4-FFF2-40B4-BE49-F238E27FC236}">
                <a16:creationId xmlns:a16="http://schemas.microsoft.com/office/drawing/2014/main" id="{6AA68653-34F3-5107-E77B-4C70ABC36C7A}"/>
              </a:ext>
            </a:extLst>
          </p:cNvPr>
          <p:cNvPicPr>
            <a:picLocks noChangeAspect="1"/>
          </p:cNvPicPr>
          <p:nvPr/>
        </p:nvPicPr>
        <p:blipFill>
          <a:blip r:embed="rId2"/>
          <a:stretch>
            <a:fillRect/>
          </a:stretch>
        </p:blipFill>
        <p:spPr>
          <a:xfrm>
            <a:off x="5709407" y="4005325"/>
            <a:ext cx="874555" cy="874555"/>
          </a:xfrm>
          <a:prstGeom prst="rect">
            <a:avLst/>
          </a:prstGeom>
        </p:spPr>
      </p:pic>
      <p:pic>
        <p:nvPicPr>
          <p:cNvPr id="4" name="Content Placeholder 7" descr="Roelof Coertze&#10;">
            <a:extLst>
              <a:ext uri="{FF2B5EF4-FFF2-40B4-BE49-F238E27FC236}">
                <a16:creationId xmlns:a16="http://schemas.microsoft.com/office/drawing/2014/main" id="{25359F1A-321D-A40A-FCDB-3896B789951D}"/>
              </a:ext>
            </a:extLst>
          </p:cNvPr>
          <p:cNvPicPr>
            <a:picLocks noChangeAspect="1"/>
          </p:cNvPicPr>
          <p:nvPr/>
        </p:nvPicPr>
        <p:blipFill rotWithShape="1">
          <a:blip r:embed="rId3"/>
          <a:srcRect l="25462" r="5463" b="1"/>
          <a:stretch/>
        </p:blipFill>
        <p:spPr>
          <a:xfrm>
            <a:off x="4975058" y="1626603"/>
            <a:ext cx="2343254" cy="2264359"/>
          </a:xfrm>
          <a:prstGeom prst="rect">
            <a:avLst/>
          </a:prstGeom>
          <a:noFill/>
        </p:spPr>
      </p:pic>
    </p:spTree>
    <p:extLst>
      <p:ext uri="{BB962C8B-B14F-4D97-AF65-F5344CB8AC3E}">
        <p14:creationId xmlns:p14="http://schemas.microsoft.com/office/powerpoint/2010/main" val="18311125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23031E-4256-26DD-E40D-2BA804472E49}"/>
              </a:ext>
            </a:extLst>
          </p:cNvPr>
          <p:cNvSpPr>
            <a:spLocks noGrp="1"/>
          </p:cNvSpPr>
          <p:nvPr>
            <p:ph type="body" idx="11"/>
          </p:nvPr>
        </p:nvSpPr>
        <p:spPr/>
        <p:txBody>
          <a:bodyPr/>
          <a:lstStyle/>
          <a:p>
            <a:r>
              <a:rPr lang="en-GB" dirty="0"/>
              <a:t>Why is climate change relevant to Prudential?</a:t>
            </a:r>
            <a:endParaRPr lang="en-US" dirty="0"/>
          </a:p>
        </p:txBody>
      </p:sp>
      <p:sp>
        <p:nvSpPr>
          <p:cNvPr id="3" name="Text Placeholder 2">
            <a:extLst>
              <a:ext uri="{FF2B5EF4-FFF2-40B4-BE49-F238E27FC236}">
                <a16:creationId xmlns:a16="http://schemas.microsoft.com/office/drawing/2014/main" id="{27EBE420-F6D8-8DE5-CCF5-2C35D540FE7E}"/>
              </a:ext>
            </a:extLst>
          </p:cNvPr>
          <p:cNvSpPr>
            <a:spLocks noGrp="1"/>
          </p:cNvSpPr>
          <p:nvPr>
            <p:ph type="body" sz="quarter" idx="3"/>
          </p:nvPr>
        </p:nvSpPr>
        <p:spPr/>
        <p:txBody>
          <a:bodyPr/>
          <a:lstStyle/>
          <a:p>
            <a:endParaRPr lang="en-US"/>
          </a:p>
        </p:txBody>
      </p:sp>
      <p:graphicFrame>
        <p:nvGraphicFramePr>
          <p:cNvPr id="6" name="Diagram 5">
            <a:extLst>
              <a:ext uri="{FF2B5EF4-FFF2-40B4-BE49-F238E27FC236}">
                <a16:creationId xmlns:a16="http://schemas.microsoft.com/office/drawing/2014/main" id="{5C1C7924-5AC1-C725-9538-EB016B527EF0}"/>
              </a:ext>
            </a:extLst>
          </p:cNvPr>
          <p:cNvGraphicFramePr/>
          <p:nvPr>
            <p:extLst>
              <p:ext uri="{D42A27DB-BD31-4B8C-83A1-F6EECF244321}">
                <p14:modId xmlns:p14="http://schemas.microsoft.com/office/powerpoint/2010/main" val="3117323256"/>
              </p:ext>
            </p:extLst>
          </p:nvPr>
        </p:nvGraphicFramePr>
        <p:xfrm>
          <a:off x="342176" y="838199"/>
          <a:ext cx="4045674" cy="25844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ED571AF5-25B2-7D4D-D91E-5077CC965088}"/>
              </a:ext>
            </a:extLst>
          </p:cNvPr>
          <p:cNvGraphicFramePr/>
          <p:nvPr>
            <p:extLst>
              <p:ext uri="{D42A27DB-BD31-4B8C-83A1-F6EECF244321}">
                <p14:modId xmlns:p14="http://schemas.microsoft.com/office/powerpoint/2010/main" val="2804122595"/>
              </p:ext>
            </p:extLst>
          </p:nvPr>
        </p:nvGraphicFramePr>
        <p:xfrm>
          <a:off x="4527114" y="2022341"/>
          <a:ext cx="4438938" cy="26596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9281595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7F7B1A-E4F3-4A13-47E5-6712C8A9D47E}"/>
              </a:ext>
            </a:extLst>
          </p:cNvPr>
          <p:cNvSpPr>
            <a:spLocks noGrp="1"/>
          </p:cNvSpPr>
          <p:nvPr>
            <p:ph type="body" idx="11"/>
          </p:nvPr>
        </p:nvSpPr>
        <p:spPr/>
        <p:txBody>
          <a:bodyPr/>
          <a:lstStyle/>
          <a:p>
            <a:r>
              <a:rPr lang="en-GB" dirty="0" err="1"/>
              <a:t>Prudentia’s</a:t>
            </a:r>
            <a:r>
              <a:rPr lang="en-GB" dirty="0"/>
              <a:t> sustainability journey so far</a:t>
            </a:r>
            <a:endParaRPr lang="en-US" dirty="0"/>
          </a:p>
        </p:txBody>
      </p:sp>
      <p:sp>
        <p:nvSpPr>
          <p:cNvPr id="3" name="Text Placeholder 2">
            <a:extLst>
              <a:ext uri="{FF2B5EF4-FFF2-40B4-BE49-F238E27FC236}">
                <a16:creationId xmlns:a16="http://schemas.microsoft.com/office/drawing/2014/main" id="{FDF66A36-B434-3BE9-B1D5-8F65A0A5275D}"/>
              </a:ext>
            </a:extLst>
          </p:cNvPr>
          <p:cNvSpPr>
            <a:spLocks noGrp="1"/>
          </p:cNvSpPr>
          <p:nvPr>
            <p:ph type="body" sz="quarter" idx="3"/>
          </p:nvPr>
        </p:nvSpPr>
        <p:spPr/>
        <p:txBody>
          <a:bodyPr/>
          <a:lstStyle/>
          <a:p>
            <a:endParaRPr lang="en-US"/>
          </a:p>
        </p:txBody>
      </p:sp>
      <p:pic>
        <p:nvPicPr>
          <p:cNvPr id="7" name="Picture 6">
            <a:extLst>
              <a:ext uri="{FF2B5EF4-FFF2-40B4-BE49-F238E27FC236}">
                <a16:creationId xmlns:a16="http://schemas.microsoft.com/office/drawing/2014/main" id="{4E9FD05C-AD6A-CEF3-B401-D52C32FBCA22}"/>
              </a:ext>
            </a:extLst>
          </p:cNvPr>
          <p:cNvPicPr>
            <a:picLocks noChangeAspect="1"/>
          </p:cNvPicPr>
          <p:nvPr/>
        </p:nvPicPr>
        <p:blipFill>
          <a:blip r:embed="rId2"/>
          <a:stretch>
            <a:fillRect/>
          </a:stretch>
        </p:blipFill>
        <p:spPr>
          <a:xfrm>
            <a:off x="612571" y="1450306"/>
            <a:ext cx="7918857" cy="3562533"/>
          </a:xfrm>
          <a:prstGeom prst="rect">
            <a:avLst/>
          </a:prstGeom>
        </p:spPr>
      </p:pic>
    </p:spTree>
    <p:extLst>
      <p:ext uri="{BB962C8B-B14F-4D97-AF65-F5344CB8AC3E}">
        <p14:creationId xmlns:p14="http://schemas.microsoft.com/office/powerpoint/2010/main" val="1823655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7E8B9-E279-26F4-6A58-7833F89F1BEA}"/>
              </a:ext>
            </a:extLst>
          </p:cNvPr>
          <p:cNvSpPr>
            <a:spLocks noGrp="1"/>
          </p:cNvSpPr>
          <p:nvPr>
            <p:ph type="title"/>
          </p:nvPr>
        </p:nvSpPr>
        <p:spPr/>
        <p:txBody>
          <a:bodyPr/>
          <a:lstStyle/>
          <a:p>
            <a:r>
              <a:rPr lang="en-GB" dirty="0"/>
              <a:t>Climate change impacts are here already</a:t>
            </a:r>
            <a:endParaRPr lang="en-US" dirty="0"/>
          </a:p>
        </p:txBody>
      </p:sp>
      <p:sp>
        <p:nvSpPr>
          <p:cNvPr id="3" name="Text Placeholder 2">
            <a:extLst>
              <a:ext uri="{FF2B5EF4-FFF2-40B4-BE49-F238E27FC236}">
                <a16:creationId xmlns:a16="http://schemas.microsoft.com/office/drawing/2014/main" id="{83974FD5-DDF2-A0A1-2382-6A09FEA430D0}"/>
              </a:ext>
            </a:extLst>
          </p:cNvPr>
          <p:cNvSpPr>
            <a:spLocks noGrp="1"/>
          </p:cNvSpPr>
          <p:nvPr>
            <p:ph type="body" sz="quarter" idx="3"/>
          </p:nvPr>
        </p:nvSpPr>
        <p:spPr/>
        <p:txBody>
          <a:bodyPr/>
          <a:lstStyle/>
          <a:p>
            <a:endParaRPr lang="en-US"/>
          </a:p>
        </p:txBody>
      </p:sp>
      <p:pic>
        <p:nvPicPr>
          <p:cNvPr id="15" name="Content Placeholder 14" descr="A screen shot of a graph&#10;&#10;Description automatically generated">
            <a:extLst>
              <a:ext uri="{FF2B5EF4-FFF2-40B4-BE49-F238E27FC236}">
                <a16:creationId xmlns:a16="http://schemas.microsoft.com/office/drawing/2014/main" id="{6592D775-5B21-43D1-997E-9AF95803CF9A}"/>
              </a:ext>
            </a:extLst>
          </p:cNvPr>
          <p:cNvPicPr>
            <a:picLocks noGrp="1" noChangeAspect="1"/>
          </p:cNvPicPr>
          <p:nvPr>
            <p:ph sz="quarter" idx="10"/>
          </p:nvPr>
        </p:nvPicPr>
        <p:blipFill>
          <a:blip r:embed="rId2"/>
          <a:stretch>
            <a:fillRect/>
          </a:stretch>
        </p:blipFill>
        <p:spPr>
          <a:xfrm>
            <a:off x="1017608" y="1143424"/>
            <a:ext cx="6536410" cy="3676298"/>
          </a:xfrm>
        </p:spPr>
      </p:pic>
    </p:spTree>
    <p:extLst>
      <p:ext uri="{BB962C8B-B14F-4D97-AF65-F5344CB8AC3E}">
        <p14:creationId xmlns:p14="http://schemas.microsoft.com/office/powerpoint/2010/main" val="1921090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7E8B9-E279-26F4-6A58-7833F89F1BEA}"/>
              </a:ext>
            </a:extLst>
          </p:cNvPr>
          <p:cNvSpPr>
            <a:spLocks noGrp="1"/>
          </p:cNvSpPr>
          <p:nvPr>
            <p:ph type="title"/>
          </p:nvPr>
        </p:nvSpPr>
        <p:spPr/>
        <p:txBody>
          <a:bodyPr/>
          <a:lstStyle/>
          <a:p>
            <a:r>
              <a:rPr lang="en-GB" dirty="0"/>
              <a:t>The impact is different to the average</a:t>
            </a:r>
            <a:endParaRPr lang="en-US" dirty="0"/>
          </a:p>
        </p:txBody>
      </p:sp>
      <p:sp>
        <p:nvSpPr>
          <p:cNvPr id="3" name="Text Placeholder 2">
            <a:extLst>
              <a:ext uri="{FF2B5EF4-FFF2-40B4-BE49-F238E27FC236}">
                <a16:creationId xmlns:a16="http://schemas.microsoft.com/office/drawing/2014/main" id="{83974FD5-DDF2-A0A1-2382-6A09FEA430D0}"/>
              </a:ext>
            </a:extLst>
          </p:cNvPr>
          <p:cNvSpPr>
            <a:spLocks noGrp="1"/>
          </p:cNvSpPr>
          <p:nvPr>
            <p:ph type="body" sz="quarter" idx="3"/>
          </p:nvPr>
        </p:nvSpPr>
        <p:spPr/>
        <p:txBody>
          <a:bodyPr/>
          <a:lstStyle/>
          <a:p>
            <a:endParaRPr lang="en-US"/>
          </a:p>
        </p:txBody>
      </p:sp>
      <p:pic>
        <p:nvPicPr>
          <p:cNvPr id="10" name="Picture 9">
            <a:extLst>
              <a:ext uri="{FF2B5EF4-FFF2-40B4-BE49-F238E27FC236}">
                <a16:creationId xmlns:a16="http://schemas.microsoft.com/office/drawing/2014/main" id="{A4B3F6EC-9E28-FAAF-B678-BC3070D7539E}"/>
              </a:ext>
            </a:extLst>
          </p:cNvPr>
          <p:cNvPicPr>
            <a:picLocks noChangeAspect="1"/>
          </p:cNvPicPr>
          <p:nvPr/>
        </p:nvPicPr>
        <p:blipFill rotWithShape="1">
          <a:blip r:embed="rId2"/>
          <a:srcRect t="5656" b="7882"/>
          <a:stretch/>
        </p:blipFill>
        <p:spPr>
          <a:xfrm>
            <a:off x="785659" y="1570251"/>
            <a:ext cx="2957770" cy="2411402"/>
          </a:xfrm>
          <a:prstGeom prst="rect">
            <a:avLst/>
          </a:prstGeom>
        </p:spPr>
      </p:pic>
      <p:pic>
        <p:nvPicPr>
          <p:cNvPr id="3074" name="Picture 2" descr="Zambia declares national disaster after drought devastates agriculture">
            <a:extLst>
              <a:ext uri="{FF2B5EF4-FFF2-40B4-BE49-F238E27FC236}">
                <a16:creationId xmlns:a16="http://schemas.microsoft.com/office/drawing/2014/main" id="{3C5E3F86-63C8-1987-9C6F-9543D0DEDD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9463" y="1729767"/>
            <a:ext cx="4003353" cy="22518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00963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34158-1F2A-039C-DA48-8F32B095847B}"/>
              </a:ext>
            </a:extLst>
          </p:cNvPr>
          <p:cNvSpPr>
            <a:spLocks noGrp="1"/>
          </p:cNvSpPr>
          <p:nvPr>
            <p:ph type="body" idx="11"/>
          </p:nvPr>
        </p:nvSpPr>
        <p:spPr>
          <a:xfrm>
            <a:off x="685800" y="461529"/>
            <a:ext cx="7196400" cy="424688"/>
          </a:xfrm>
        </p:spPr>
        <p:txBody>
          <a:bodyPr anchor="t">
            <a:normAutofit/>
          </a:bodyPr>
          <a:lstStyle/>
          <a:p>
            <a:r>
              <a:rPr lang="en-GB" sz="2000"/>
              <a:t>How well does our region understand climate risks?</a:t>
            </a:r>
            <a:endParaRPr lang="en-US" sz="2000"/>
          </a:p>
        </p:txBody>
      </p:sp>
      <p:sp>
        <p:nvSpPr>
          <p:cNvPr id="11" name="Text Placeholder 2">
            <a:extLst>
              <a:ext uri="{FF2B5EF4-FFF2-40B4-BE49-F238E27FC236}">
                <a16:creationId xmlns:a16="http://schemas.microsoft.com/office/drawing/2014/main" id="{6017FCC7-7D95-169E-E082-7B9BC04C40D6}"/>
              </a:ext>
            </a:extLst>
          </p:cNvPr>
          <p:cNvSpPr>
            <a:spLocks noGrp="1"/>
          </p:cNvSpPr>
          <p:nvPr>
            <p:ph type="body" sz="quarter" idx="3"/>
          </p:nvPr>
        </p:nvSpPr>
        <p:spPr>
          <a:xfrm>
            <a:off x="685800" y="263620"/>
            <a:ext cx="7200026" cy="145837"/>
          </a:xfrm>
        </p:spPr>
        <p:txBody>
          <a:bodyPr/>
          <a:lstStyle/>
          <a:p>
            <a:endParaRPr lang="en-US"/>
          </a:p>
        </p:txBody>
      </p:sp>
      <p:pic>
        <p:nvPicPr>
          <p:cNvPr id="6" name="Picture 5">
            <a:extLst>
              <a:ext uri="{FF2B5EF4-FFF2-40B4-BE49-F238E27FC236}">
                <a16:creationId xmlns:a16="http://schemas.microsoft.com/office/drawing/2014/main" id="{4F7F4991-8CBB-E571-1C24-7FB7F4F9B16E}"/>
              </a:ext>
            </a:extLst>
          </p:cNvPr>
          <p:cNvPicPr>
            <a:picLocks noChangeAspect="1"/>
          </p:cNvPicPr>
          <p:nvPr/>
        </p:nvPicPr>
        <p:blipFill>
          <a:blip r:embed="rId2"/>
          <a:stretch>
            <a:fillRect/>
          </a:stretch>
        </p:blipFill>
        <p:spPr>
          <a:xfrm>
            <a:off x="381551" y="938288"/>
            <a:ext cx="5479551" cy="3657599"/>
          </a:xfrm>
          <a:prstGeom prst="rect">
            <a:avLst/>
          </a:prstGeom>
          <a:noFill/>
        </p:spPr>
      </p:pic>
      <p:sp>
        <p:nvSpPr>
          <p:cNvPr id="4" name="Content Placeholder 3">
            <a:extLst>
              <a:ext uri="{FF2B5EF4-FFF2-40B4-BE49-F238E27FC236}">
                <a16:creationId xmlns:a16="http://schemas.microsoft.com/office/drawing/2014/main" id="{B04D55C6-A363-1A95-1C00-8B684F7A8B36}"/>
              </a:ext>
            </a:extLst>
          </p:cNvPr>
          <p:cNvSpPr>
            <a:spLocks noGrp="1"/>
          </p:cNvSpPr>
          <p:nvPr>
            <p:ph sz="quarter" idx="13"/>
          </p:nvPr>
        </p:nvSpPr>
        <p:spPr>
          <a:xfrm>
            <a:off x="6064250" y="1047750"/>
            <a:ext cx="2355850" cy="3657600"/>
          </a:xfrm>
        </p:spPr>
        <p:txBody>
          <a:bodyPr>
            <a:normAutofit/>
          </a:bodyPr>
          <a:lstStyle/>
          <a:p>
            <a:r>
              <a:rPr lang="en-GB" dirty="0"/>
              <a:t>To manage a risk, you need to understand it thoroughly</a:t>
            </a:r>
          </a:p>
          <a:p>
            <a:endParaRPr lang="en-GB" dirty="0"/>
          </a:p>
          <a:p>
            <a:r>
              <a:rPr lang="en-GB" dirty="0"/>
              <a:t>This table shows the level of TCFD disclosure against their principles by region</a:t>
            </a:r>
          </a:p>
          <a:p>
            <a:endParaRPr lang="en-GB" dirty="0"/>
          </a:p>
          <a:p>
            <a:r>
              <a:rPr lang="en-GB" dirty="0"/>
              <a:t>Disclosures are moving from TCFD recommendations to IFRS ISSB requirements</a:t>
            </a:r>
          </a:p>
          <a:p>
            <a:pPr lvl="1"/>
            <a:endParaRPr lang="en-US" dirty="0"/>
          </a:p>
        </p:txBody>
      </p:sp>
      <p:sp>
        <p:nvSpPr>
          <p:cNvPr id="7" name="TextBox 6">
            <a:extLst>
              <a:ext uri="{FF2B5EF4-FFF2-40B4-BE49-F238E27FC236}">
                <a16:creationId xmlns:a16="http://schemas.microsoft.com/office/drawing/2014/main" id="{6B3ED2EE-EB0A-3896-7664-1FB40CED37ED}"/>
              </a:ext>
            </a:extLst>
          </p:cNvPr>
          <p:cNvSpPr txBox="1"/>
          <p:nvPr/>
        </p:nvSpPr>
        <p:spPr>
          <a:xfrm>
            <a:off x="629201" y="4681971"/>
            <a:ext cx="2619500" cy="184666"/>
          </a:xfrm>
          <a:prstGeom prst="rect">
            <a:avLst/>
          </a:prstGeom>
          <a:noFill/>
        </p:spPr>
        <p:txBody>
          <a:bodyPr wrap="none" lIns="0" tIns="0" rIns="0" bIns="0" rtlCol="0">
            <a:spAutoFit/>
          </a:bodyPr>
          <a:lstStyle/>
          <a:p>
            <a:pPr algn="l"/>
            <a:r>
              <a:rPr lang="en-GB" sz="1200" dirty="0"/>
              <a:t>Source: 2023 TCFD status report </a:t>
            </a:r>
            <a:endParaRPr lang="en-US" sz="1200" dirty="0" err="1"/>
          </a:p>
        </p:txBody>
      </p:sp>
      <p:sp>
        <p:nvSpPr>
          <p:cNvPr id="8" name="Rectangle 7">
            <a:extLst>
              <a:ext uri="{FF2B5EF4-FFF2-40B4-BE49-F238E27FC236}">
                <a16:creationId xmlns:a16="http://schemas.microsoft.com/office/drawing/2014/main" id="{EF0A0B21-B9EC-F4BA-DF8C-E179EEC7D1E4}"/>
              </a:ext>
            </a:extLst>
          </p:cNvPr>
          <p:cNvSpPr/>
          <p:nvPr/>
        </p:nvSpPr>
        <p:spPr>
          <a:xfrm>
            <a:off x="4667250" y="1320800"/>
            <a:ext cx="628650" cy="2984500"/>
          </a:xfrm>
          <a:prstGeom prst="rect">
            <a:avLst/>
          </a:prstGeom>
          <a:noFill/>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200" dirty="0" err="1">
              <a:solidFill>
                <a:schemeClr val="tx1"/>
              </a:solidFill>
            </a:endParaRPr>
          </a:p>
        </p:txBody>
      </p:sp>
    </p:spTree>
    <p:extLst>
      <p:ext uri="{BB962C8B-B14F-4D97-AF65-F5344CB8AC3E}">
        <p14:creationId xmlns:p14="http://schemas.microsoft.com/office/powerpoint/2010/main" val="3698058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3961FB1-5D7C-133C-AB74-4E5670E3365C}"/>
              </a:ext>
            </a:extLst>
          </p:cNvPr>
          <p:cNvPicPr>
            <a:picLocks noChangeAspect="1"/>
          </p:cNvPicPr>
          <p:nvPr/>
        </p:nvPicPr>
        <p:blipFill rotWithShape="1">
          <a:blip r:embed="rId2"/>
          <a:srcRect l="34251"/>
          <a:stretch/>
        </p:blipFill>
        <p:spPr>
          <a:xfrm>
            <a:off x="1489492" y="1136650"/>
            <a:ext cx="5951838" cy="4006850"/>
          </a:xfrm>
          <a:prstGeom prst="rect">
            <a:avLst/>
          </a:prstGeom>
        </p:spPr>
      </p:pic>
      <p:sp>
        <p:nvSpPr>
          <p:cNvPr id="2" name="Title 1">
            <a:extLst>
              <a:ext uri="{FF2B5EF4-FFF2-40B4-BE49-F238E27FC236}">
                <a16:creationId xmlns:a16="http://schemas.microsoft.com/office/drawing/2014/main" id="{DDD34158-1F2A-039C-DA48-8F32B095847B}"/>
              </a:ext>
            </a:extLst>
          </p:cNvPr>
          <p:cNvSpPr>
            <a:spLocks noGrp="1"/>
          </p:cNvSpPr>
          <p:nvPr>
            <p:ph type="title"/>
          </p:nvPr>
        </p:nvSpPr>
        <p:spPr/>
        <p:txBody>
          <a:bodyPr/>
          <a:lstStyle/>
          <a:p>
            <a:r>
              <a:rPr lang="en-GB" dirty="0"/>
              <a:t>What are the climate risks?</a:t>
            </a:r>
            <a:endParaRPr lang="en-US" dirty="0"/>
          </a:p>
        </p:txBody>
      </p:sp>
      <p:sp>
        <p:nvSpPr>
          <p:cNvPr id="3" name="Text Placeholder 2">
            <a:extLst>
              <a:ext uri="{FF2B5EF4-FFF2-40B4-BE49-F238E27FC236}">
                <a16:creationId xmlns:a16="http://schemas.microsoft.com/office/drawing/2014/main" id="{254EA1C9-DCEA-2458-3288-9E01C4ED59F4}"/>
              </a:ext>
            </a:extLst>
          </p:cNvPr>
          <p:cNvSpPr>
            <a:spLocks noGrp="1"/>
          </p:cNvSpPr>
          <p:nvPr>
            <p:ph type="body" sz="quarter" idx="3"/>
          </p:nvPr>
        </p:nvSpPr>
        <p:spPr/>
        <p:txBody>
          <a:bodyPr/>
          <a:lstStyle/>
          <a:p>
            <a:endParaRPr lang="en-US"/>
          </a:p>
        </p:txBody>
      </p:sp>
      <p:sp>
        <p:nvSpPr>
          <p:cNvPr id="4" name="Content Placeholder 3">
            <a:extLst>
              <a:ext uri="{FF2B5EF4-FFF2-40B4-BE49-F238E27FC236}">
                <a16:creationId xmlns:a16="http://schemas.microsoft.com/office/drawing/2014/main" id="{B04D55C6-A363-1A95-1C00-8B684F7A8B36}"/>
              </a:ext>
            </a:extLst>
          </p:cNvPr>
          <p:cNvSpPr>
            <a:spLocks noGrp="1"/>
          </p:cNvSpPr>
          <p:nvPr>
            <p:ph sz="quarter" idx="10"/>
          </p:nvPr>
        </p:nvSpPr>
        <p:spPr/>
        <p:txBody>
          <a:bodyPr/>
          <a:lstStyle/>
          <a:p>
            <a:r>
              <a:rPr lang="en-GB" dirty="0"/>
              <a:t>Climate change’s impact can come both from doing something (transition risks) and from doing nothing (physical risks)</a:t>
            </a:r>
            <a:endParaRPr lang="en-US" dirty="0"/>
          </a:p>
        </p:txBody>
      </p:sp>
    </p:spTree>
    <p:extLst>
      <p:ext uri="{BB962C8B-B14F-4D97-AF65-F5344CB8AC3E}">
        <p14:creationId xmlns:p14="http://schemas.microsoft.com/office/powerpoint/2010/main" val="4179598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6A23839-C1F4-778A-52BB-14E27CCA1C59}"/>
              </a:ext>
            </a:extLst>
          </p:cNvPr>
          <p:cNvPicPr>
            <a:picLocks noChangeAspect="1"/>
          </p:cNvPicPr>
          <p:nvPr/>
        </p:nvPicPr>
        <p:blipFill>
          <a:blip r:embed="rId3"/>
          <a:stretch>
            <a:fillRect/>
          </a:stretch>
        </p:blipFill>
        <p:spPr>
          <a:xfrm>
            <a:off x="5009768" y="3834503"/>
            <a:ext cx="3886391" cy="751093"/>
          </a:xfrm>
          <a:prstGeom prst="rect">
            <a:avLst/>
          </a:prstGeom>
        </p:spPr>
      </p:pic>
      <p:pic>
        <p:nvPicPr>
          <p:cNvPr id="20" name="Picture 19">
            <a:extLst>
              <a:ext uri="{FF2B5EF4-FFF2-40B4-BE49-F238E27FC236}">
                <a16:creationId xmlns:a16="http://schemas.microsoft.com/office/drawing/2014/main" id="{07550EC7-AF20-401B-543D-8B690896A13D}"/>
              </a:ext>
            </a:extLst>
          </p:cNvPr>
          <p:cNvPicPr>
            <a:picLocks noChangeAspect="1"/>
          </p:cNvPicPr>
          <p:nvPr/>
        </p:nvPicPr>
        <p:blipFill>
          <a:blip r:embed="rId4"/>
          <a:stretch>
            <a:fillRect/>
          </a:stretch>
        </p:blipFill>
        <p:spPr>
          <a:xfrm>
            <a:off x="5688387" y="1865635"/>
            <a:ext cx="2529152" cy="1412229"/>
          </a:xfrm>
          <a:prstGeom prst="rect">
            <a:avLst/>
          </a:prstGeom>
        </p:spPr>
      </p:pic>
      <p:sp>
        <p:nvSpPr>
          <p:cNvPr id="6" name="Text Placeholder 5">
            <a:extLst>
              <a:ext uri="{FF2B5EF4-FFF2-40B4-BE49-F238E27FC236}">
                <a16:creationId xmlns:a16="http://schemas.microsoft.com/office/drawing/2014/main" id="{F82B5B17-29F6-8DA5-0182-378E571D2C33}"/>
              </a:ext>
            </a:extLst>
          </p:cNvPr>
          <p:cNvSpPr>
            <a:spLocks noGrp="1"/>
          </p:cNvSpPr>
          <p:nvPr>
            <p:ph type="body" idx="11"/>
          </p:nvPr>
        </p:nvSpPr>
        <p:spPr/>
        <p:txBody>
          <a:bodyPr/>
          <a:lstStyle/>
          <a:p>
            <a:r>
              <a:rPr lang="en-GB" dirty="0"/>
              <a:t>How have we assessed the impacts on  us?</a:t>
            </a:r>
            <a:endParaRPr lang="en-US" dirty="0"/>
          </a:p>
        </p:txBody>
      </p:sp>
      <p:sp>
        <p:nvSpPr>
          <p:cNvPr id="5" name="Text Placeholder 4">
            <a:extLst>
              <a:ext uri="{FF2B5EF4-FFF2-40B4-BE49-F238E27FC236}">
                <a16:creationId xmlns:a16="http://schemas.microsoft.com/office/drawing/2014/main" id="{6C4ED4BC-7585-E55F-240F-84CC202D60F4}"/>
              </a:ext>
            </a:extLst>
          </p:cNvPr>
          <p:cNvSpPr>
            <a:spLocks noGrp="1"/>
          </p:cNvSpPr>
          <p:nvPr>
            <p:ph type="body" sz="quarter" idx="3"/>
          </p:nvPr>
        </p:nvSpPr>
        <p:spPr/>
        <p:txBody>
          <a:bodyPr/>
          <a:lstStyle/>
          <a:p>
            <a:endParaRPr lang="en-US"/>
          </a:p>
        </p:txBody>
      </p:sp>
      <p:pic>
        <p:nvPicPr>
          <p:cNvPr id="11" name="Picture 10">
            <a:extLst>
              <a:ext uri="{FF2B5EF4-FFF2-40B4-BE49-F238E27FC236}">
                <a16:creationId xmlns:a16="http://schemas.microsoft.com/office/drawing/2014/main" id="{E678C726-BFB3-ED11-4DAA-2B22AC3CECBC}"/>
              </a:ext>
            </a:extLst>
          </p:cNvPr>
          <p:cNvPicPr>
            <a:picLocks noChangeAspect="1"/>
          </p:cNvPicPr>
          <p:nvPr/>
        </p:nvPicPr>
        <p:blipFill rotWithShape="1">
          <a:blip r:embed="rId5"/>
          <a:srcRect l="55089"/>
          <a:stretch/>
        </p:blipFill>
        <p:spPr>
          <a:xfrm>
            <a:off x="195386" y="1728444"/>
            <a:ext cx="1962589" cy="2110463"/>
          </a:xfrm>
          <a:prstGeom prst="rect">
            <a:avLst/>
          </a:prstGeom>
        </p:spPr>
      </p:pic>
      <p:pic>
        <p:nvPicPr>
          <p:cNvPr id="15" name="Picture 14">
            <a:extLst>
              <a:ext uri="{FF2B5EF4-FFF2-40B4-BE49-F238E27FC236}">
                <a16:creationId xmlns:a16="http://schemas.microsoft.com/office/drawing/2014/main" id="{D80C3CF1-2A70-1495-2079-600B72625605}"/>
              </a:ext>
            </a:extLst>
          </p:cNvPr>
          <p:cNvPicPr>
            <a:picLocks noChangeAspect="1"/>
          </p:cNvPicPr>
          <p:nvPr/>
        </p:nvPicPr>
        <p:blipFill>
          <a:blip r:embed="rId6"/>
          <a:stretch>
            <a:fillRect/>
          </a:stretch>
        </p:blipFill>
        <p:spPr>
          <a:xfrm>
            <a:off x="1543270" y="3418507"/>
            <a:ext cx="2919288" cy="1583470"/>
          </a:xfrm>
          <a:prstGeom prst="rect">
            <a:avLst/>
          </a:prstGeom>
        </p:spPr>
      </p:pic>
      <p:sp>
        <p:nvSpPr>
          <p:cNvPr id="17" name="Content Placeholder 3">
            <a:extLst>
              <a:ext uri="{FF2B5EF4-FFF2-40B4-BE49-F238E27FC236}">
                <a16:creationId xmlns:a16="http://schemas.microsoft.com/office/drawing/2014/main" id="{20A0EAD6-FB3D-7A02-9229-6A82F6BA883A}"/>
              </a:ext>
            </a:extLst>
          </p:cNvPr>
          <p:cNvSpPr txBox="1">
            <a:spLocks/>
          </p:cNvSpPr>
          <p:nvPr/>
        </p:nvSpPr>
        <p:spPr>
          <a:xfrm>
            <a:off x="685800" y="1047750"/>
            <a:ext cx="7734300" cy="3657600"/>
          </a:xfrm>
          <a:prstGeom prst="rect">
            <a:avLst/>
          </a:prstGeom>
        </p:spPr>
        <p:txBody>
          <a:bodyPr/>
          <a:lst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indent="-171450" algn="l" defTabSz="457200" rtl="0" eaLnBrk="1" latinLnBrk="0" hangingPunct="1">
              <a:lnSpc>
                <a:spcPct val="100000"/>
              </a:lnSpc>
              <a:spcBef>
                <a:spcPts val="0"/>
              </a:spcBef>
              <a:spcAft>
                <a:spcPts val="600"/>
              </a:spcAft>
              <a:buFont typeface="System Font Regular"/>
              <a:buChar char="–"/>
              <a:tabLst/>
              <a:defRPr sz="1200" kern="1200">
                <a:solidFill>
                  <a:schemeClr val="tx1"/>
                </a:solidFill>
                <a:latin typeface="Verdana"/>
                <a:ea typeface="+mn-ea"/>
                <a:cs typeface="+mn-cs"/>
              </a:defRPr>
            </a:lvl2pPr>
            <a:lvl3pPr marL="521208" indent="-171450" algn="l" defTabSz="457200" rtl="0" eaLnBrk="1" latinLnBrk="0" hangingPunct="1">
              <a:lnSpc>
                <a:spcPct val="100000"/>
              </a:lnSpc>
              <a:spcBef>
                <a:spcPts val="0"/>
              </a:spcBef>
              <a:spcAft>
                <a:spcPts val="600"/>
              </a:spcAft>
              <a:buFont typeface="Courier New" panose="020F0502020204030204" pitchFamily="34" charset="0"/>
              <a:buChar char="o"/>
              <a:tabLst/>
              <a:defRPr sz="1100" kern="1200">
                <a:solidFill>
                  <a:schemeClr val="tx1"/>
                </a:solidFill>
                <a:latin typeface="Verdana"/>
                <a:ea typeface="+mn-ea"/>
                <a:cs typeface="+mn-cs"/>
              </a:defRPr>
            </a:lvl3pPr>
            <a:lvl4pPr marL="694944" indent="-171450" algn="l" defTabSz="173736" rtl="0" eaLnBrk="1" latinLnBrk="0" hangingPunct="1">
              <a:lnSpc>
                <a:spcPct val="100000"/>
              </a:lnSpc>
              <a:spcBef>
                <a:spcPts val="0"/>
              </a:spcBef>
              <a:spcAft>
                <a:spcPts val="600"/>
              </a:spcAft>
              <a:buFont typeface="Wingdings" pitchFamily="2" charset="2"/>
              <a:buChar char="Ø"/>
              <a:tabLst/>
              <a:defRPr sz="1000" kern="1200">
                <a:solidFill>
                  <a:schemeClr val="tx1"/>
                </a:solidFill>
                <a:latin typeface="Verdana"/>
                <a:ea typeface="+mn-ea"/>
                <a:cs typeface="+mn-cs"/>
              </a:defRPr>
            </a:lvl4pPr>
            <a:lvl5pPr marL="868680" indent="-169863" algn="l" defTabSz="457200" rtl="0" eaLnBrk="1" latinLnBrk="0" hangingPunct="1">
              <a:lnSpc>
                <a:spcPct val="100000"/>
              </a:lnSpc>
              <a:spcBef>
                <a:spcPts val="0"/>
              </a:spcBef>
              <a:spcAft>
                <a:spcPts val="600"/>
              </a:spcAft>
              <a:buFont typeface="Wingdings" pitchFamily="2" charset="2"/>
              <a:buChar char="§"/>
              <a:tabLst/>
              <a:defRPr sz="900" kern="1200">
                <a:solidFill>
                  <a:schemeClr val="tx1"/>
                </a:solidFill>
                <a:latin typeface="Verdana"/>
                <a:ea typeface="+mn-ea"/>
                <a:cs typeface="+mn-cs"/>
              </a:defRPr>
            </a:lvl5pPr>
            <a:lvl6pPr marL="1042416" indent="-171450" algn="l" defTabSz="457200" rtl="0" eaLnBrk="1" latinLnBrk="0" hangingPunct="1">
              <a:spcBef>
                <a:spcPts val="0"/>
              </a:spcBef>
              <a:spcAft>
                <a:spcPts val="600"/>
              </a:spcAft>
              <a:buFont typeface="Arial"/>
              <a:buChar char="•"/>
              <a:tabLst/>
              <a:defRPr sz="9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Given  the uncertainty surrounding how climate change can evolve along with governments’ and societies’ responses, </a:t>
            </a:r>
            <a:r>
              <a:rPr lang="en-GB" b="1" dirty="0"/>
              <a:t>scenario testing </a:t>
            </a:r>
            <a:r>
              <a:rPr lang="en-GB" dirty="0"/>
              <a:t>has been a key tool</a:t>
            </a:r>
            <a:endParaRPr lang="en-US" dirty="0"/>
          </a:p>
        </p:txBody>
      </p:sp>
      <p:sp>
        <p:nvSpPr>
          <p:cNvPr id="19" name="Content Placeholder 6">
            <a:extLst>
              <a:ext uri="{FF2B5EF4-FFF2-40B4-BE49-F238E27FC236}">
                <a16:creationId xmlns:a16="http://schemas.microsoft.com/office/drawing/2014/main" id="{FAAC1276-E4D7-96A7-B6FF-1B918FFA8332}"/>
              </a:ext>
            </a:extLst>
          </p:cNvPr>
          <p:cNvSpPr txBox="1">
            <a:spLocks/>
          </p:cNvSpPr>
          <p:nvPr/>
        </p:nvSpPr>
        <p:spPr>
          <a:xfrm>
            <a:off x="6124069" y="1906930"/>
            <a:ext cx="1657788" cy="281686"/>
          </a:xfrm>
          <a:prstGeom prst="rect">
            <a:avLst/>
          </a:prstGeom>
        </p:spPr>
        <p:txBody>
          <a:bodyPr vert="horz" lIns="9144" tIns="0" rIns="0" bIns="0" rtlCol="0">
            <a:normAutofit/>
          </a:bodyPr>
          <a:lst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indent="-171450" algn="l" defTabSz="457200" rtl="0" eaLnBrk="1" latinLnBrk="0" hangingPunct="1">
              <a:lnSpc>
                <a:spcPct val="100000"/>
              </a:lnSpc>
              <a:spcBef>
                <a:spcPts val="0"/>
              </a:spcBef>
              <a:spcAft>
                <a:spcPts val="600"/>
              </a:spcAft>
              <a:buFont typeface="System Font Regular"/>
              <a:buChar char="–"/>
              <a:tabLst/>
              <a:defRPr sz="1200" kern="1200">
                <a:solidFill>
                  <a:schemeClr val="tx1"/>
                </a:solidFill>
                <a:latin typeface="Verdana"/>
                <a:ea typeface="+mn-ea"/>
                <a:cs typeface="+mn-cs"/>
              </a:defRPr>
            </a:lvl2pPr>
            <a:lvl3pPr marL="521208" indent="-171450" algn="l" defTabSz="457200" rtl="0" eaLnBrk="1" latinLnBrk="0" hangingPunct="1">
              <a:lnSpc>
                <a:spcPct val="100000"/>
              </a:lnSpc>
              <a:spcBef>
                <a:spcPts val="0"/>
              </a:spcBef>
              <a:spcAft>
                <a:spcPts val="600"/>
              </a:spcAft>
              <a:buFont typeface="Courier New" panose="020F0502020204030204" pitchFamily="34" charset="0"/>
              <a:buChar char="o"/>
              <a:tabLst/>
              <a:defRPr sz="1100" kern="1200">
                <a:solidFill>
                  <a:schemeClr val="tx1"/>
                </a:solidFill>
                <a:latin typeface="Verdana"/>
                <a:ea typeface="+mn-ea"/>
                <a:cs typeface="+mn-cs"/>
              </a:defRPr>
            </a:lvl3pPr>
            <a:lvl4pPr marL="694944" indent="-171450" algn="l" defTabSz="173736" rtl="0" eaLnBrk="1" latinLnBrk="0" hangingPunct="1">
              <a:lnSpc>
                <a:spcPct val="100000"/>
              </a:lnSpc>
              <a:spcBef>
                <a:spcPts val="0"/>
              </a:spcBef>
              <a:spcAft>
                <a:spcPts val="600"/>
              </a:spcAft>
              <a:buFont typeface="Wingdings" pitchFamily="2" charset="2"/>
              <a:buChar char="Ø"/>
              <a:tabLst/>
              <a:defRPr sz="1000" kern="1200">
                <a:solidFill>
                  <a:schemeClr val="tx1"/>
                </a:solidFill>
                <a:latin typeface="Verdana"/>
                <a:ea typeface="+mn-ea"/>
                <a:cs typeface="+mn-cs"/>
              </a:defRPr>
            </a:lvl4pPr>
            <a:lvl5pPr marL="868680" indent="-169863" algn="l" defTabSz="457200" rtl="0" eaLnBrk="1" latinLnBrk="0" hangingPunct="1">
              <a:lnSpc>
                <a:spcPct val="100000"/>
              </a:lnSpc>
              <a:spcBef>
                <a:spcPts val="0"/>
              </a:spcBef>
              <a:spcAft>
                <a:spcPts val="600"/>
              </a:spcAft>
              <a:buFont typeface="Wingdings" pitchFamily="2" charset="2"/>
              <a:buChar char="§"/>
              <a:tabLst/>
              <a:defRPr sz="900" kern="1200">
                <a:solidFill>
                  <a:schemeClr val="tx1"/>
                </a:solidFill>
                <a:latin typeface="Verdana"/>
                <a:ea typeface="+mn-ea"/>
                <a:cs typeface="+mn-cs"/>
              </a:defRPr>
            </a:lvl5pPr>
            <a:lvl6pPr marL="1042416" indent="-171450" algn="l" defTabSz="457200" rtl="0" eaLnBrk="1" latinLnBrk="0" hangingPunct="1">
              <a:spcBef>
                <a:spcPts val="0"/>
              </a:spcBef>
              <a:spcAft>
                <a:spcPts val="600"/>
              </a:spcAft>
              <a:buFont typeface="Arial"/>
              <a:buChar char="•"/>
              <a:tabLst/>
              <a:defRPr sz="9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b="1" dirty="0"/>
              <a:t>Operational risks </a:t>
            </a:r>
            <a:endParaRPr lang="en-US" b="1" dirty="0"/>
          </a:p>
        </p:txBody>
      </p:sp>
      <p:sp>
        <p:nvSpPr>
          <p:cNvPr id="21" name="Content Placeholder 6">
            <a:extLst>
              <a:ext uri="{FF2B5EF4-FFF2-40B4-BE49-F238E27FC236}">
                <a16:creationId xmlns:a16="http://schemas.microsoft.com/office/drawing/2014/main" id="{A8C171A5-6E17-D4B6-DBC3-5EAB3B4422DE}"/>
              </a:ext>
            </a:extLst>
          </p:cNvPr>
          <p:cNvSpPr txBox="1">
            <a:spLocks/>
          </p:cNvSpPr>
          <p:nvPr/>
        </p:nvSpPr>
        <p:spPr>
          <a:xfrm>
            <a:off x="6124069" y="3858308"/>
            <a:ext cx="1657788" cy="281686"/>
          </a:xfrm>
          <a:prstGeom prst="rect">
            <a:avLst/>
          </a:prstGeom>
        </p:spPr>
        <p:txBody>
          <a:bodyPr vert="horz" lIns="9144" tIns="0" rIns="0" bIns="0" rtlCol="0">
            <a:normAutofit/>
          </a:bodyPr>
          <a:lstStyle>
            <a:lvl1pPr marL="171450" marR="0" indent="-171450" algn="l" defTabSz="457200" rtl="0" eaLnBrk="1" fontAlgn="auto" latinLnBrk="0" hangingPunct="1">
              <a:lnSpc>
                <a:spcPct val="100000"/>
              </a:lnSpc>
              <a:spcBef>
                <a:spcPts val="0"/>
              </a:spcBef>
              <a:spcAft>
                <a:spcPts val="600"/>
              </a:spcAft>
              <a:buClrTx/>
              <a:buSzTx/>
              <a:buFont typeface="Arial" panose="020B0604020202020204" pitchFamily="34" charset="0"/>
              <a:buChar char="•"/>
              <a:tabLst>
                <a:tab pos="450850" algn="l"/>
                <a:tab pos="909638" algn="l"/>
                <a:tab pos="1368425" algn="l"/>
                <a:tab pos="1814513" algn="l"/>
              </a:tabLst>
              <a:defRPr sz="1200" kern="1200" baseline="0">
                <a:solidFill>
                  <a:schemeClr val="tx1"/>
                </a:solidFill>
                <a:latin typeface="Verdana"/>
                <a:ea typeface="+mn-ea"/>
                <a:cs typeface="+mn-cs"/>
              </a:defRPr>
            </a:lvl1pPr>
            <a:lvl2pPr marL="347472" indent="-171450" algn="l" defTabSz="457200" rtl="0" eaLnBrk="1" latinLnBrk="0" hangingPunct="1">
              <a:lnSpc>
                <a:spcPct val="100000"/>
              </a:lnSpc>
              <a:spcBef>
                <a:spcPts val="0"/>
              </a:spcBef>
              <a:spcAft>
                <a:spcPts val="600"/>
              </a:spcAft>
              <a:buFont typeface="System Font Regular"/>
              <a:buChar char="–"/>
              <a:tabLst/>
              <a:defRPr sz="1200" kern="1200">
                <a:solidFill>
                  <a:schemeClr val="tx1"/>
                </a:solidFill>
                <a:latin typeface="Verdana"/>
                <a:ea typeface="+mn-ea"/>
                <a:cs typeface="+mn-cs"/>
              </a:defRPr>
            </a:lvl2pPr>
            <a:lvl3pPr marL="521208" indent="-171450" algn="l" defTabSz="457200" rtl="0" eaLnBrk="1" latinLnBrk="0" hangingPunct="1">
              <a:lnSpc>
                <a:spcPct val="100000"/>
              </a:lnSpc>
              <a:spcBef>
                <a:spcPts val="0"/>
              </a:spcBef>
              <a:spcAft>
                <a:spcPts val="600"/>
              </a:spcAft>
              <a:buFont typeface="Courier New" panose="020F0502020204030204" pitchFamily="34" charset="0"/>
              <a:buChar char="o"/>
              <a:tabLst/>
              <a:defRPr sz="1100" kern="1200">
                <a:solidFill>
                  <a:schemeClr val="tx1"/>
                </a:solidFill>
                <a:latin typeface="Verdana"/>
                <a:ea typeface="+mn-ea"/>
                <a:cs typeface="+mn-cs"/>
              </a:defRPr>
            </a:lvl3pPr>
            <a:lvl4pPr marL="694944" indent="-171450" algn="l" defTabSz="173736" rtl="0" eaLnBrk="1" latinLnBrk="0" hangingPunct="1">
              <a:lnSpc>
                <a:spcPct val="100000"/>
              </a:lnSpc>
              <a:spcBef>
                <a:spcPts val="0"/>
              </a:spcBef>
              <a:spcAft>
                <a:spcPts val="600"/>
              </a:spcAft>
              <a:buFont typeface="Wingdings" pitchFamily="2" charset="2"/>
              <a:buChar char="Ø"/>
              <a:tabLst/>
              <a:defRPr sz="1000" kern="1200">
                <a:solidFill>
                  <a:schemeClr val="tx1"/>
                </a:solidFill>
                <a:latin typeface="Verdana"/>
                <a:ea typeface="+mn-ea"/>
                <a:cs typeface="+mn-cs"/>
              </a:defRPr>
            </a:lvl4pPr>
            <a:lvl5pPr marL="868680" indent="-169863" algn="l" defTabSz="457200" rtl="0" eaLnBrk="1" latinLnBrk="0" hangingPunct="1">
              <a:lnSpc>
                <a:spcPct val="100000"/>
              </a:lnSpc>
              <a:spcBef>
                <a:spcPts val="0"/>
              </a:spcBef>
              <a:spcAft>
                <a:spcPts val="600"/>
              </a:spcAft>
              <a:buFont typeface="Wingdings" pitchFamily="2" charset="2"/>
              <a:buChar char="§"/>
              <a:tabLst/>
              <a:defRPr sz="900" kern="1200">
                <a:solidFill>
                  <a:schemeClr val="tx1"/>
                </a:solidFill>
                <a:latin typeface="Verdana"/>
                <a:ea typeface="+mn-ea"/>
                <a:cs typeface="+mn-cs"/>
              </a:defRPr>
            </a:lvl5pPr>
            <a:lvl6pPr marL="1042416" indent="-171450" algn="l" defTabSz="457200" rtl="0" eaLnBrk="1" latinLnBrk="0" hangingPunct="1">
              <a:spcBef>
                <a:spcPts val="0"/>
              </a:spcBef>
              <a:spcAft>
                <a:spcPts val="600"/>
              </a:spcAft>
              <a:buFont typeface="Arial"/>
              <a:buChar char="•"/>
              <a:tabLst/>
              <a:defRPr sz="9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b="1" dirty="0"/>
              <a:t>Underwriting risks </a:t>
            </a:r>
            <a:endParaRPr lang="en-US" b="1" dirty="0"/>
          </a:p>
        </p:txBody>
      </p:sp>
      <p:sp>
        <p:nvSpPr>
          <p:cNvPr id="25" name="Arrow: Bent 24">
            <a:extLst>
              <a:ext uri="{FF2B5EF4-FFF2-40B4-BE49-F238E27FC236}">
                <a16:creationId xmlns:a16="http://schemas.microsoft.com/office/drawing/2014/main" id="{315258A9-CA5C-4B3C-70E7-FAEE9597FA94}"/>
              </a:ext>
            </a:extLst>
          </p:cNvPr>
          <p:cNvSpPr/>
          <p:nvPr/>
        </p:nvSpPr>
        <p:spPr>
          <a:xfrm rot="5400000">
            <a:off x="2114455" y="2495028"/>
            <a:ext cx="813816" cy="868680"/>
          </a:xfrm>
          <a:prstGeom prst="ben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a:solidFill>
                <a:schemeClr val="tx1"/>
              </a:solidFill>
            </a:endParaRPr>
          </a:p>
        </p:txBody>
      </p:sp>
      <p:sp>
        <p:nvSpPr>
          <p:cNvPr id="4" name="Content Placeholder 3">
            <a:extLst>
              <a:ext uri="{FF2B5EF4-FFF2-40B4-BE49-F238E27FC236}">
                <a16:creationId xmlns:a16="http://schemas.microsoft.com/office/drawing/2014/main" id="{B04D55C6-A363-1A95-1C00-8B684F7A8B36}"/>
              </a:ext>
            </a:extLst>
          </p:cNvPr>
          <p:cNvSpPr>
            <a:spLocks noGrp="1"/>
          </p:cNvSpPr>
          <p:nvPr>
            <p:ph sz="quarter" idx="12"/>
          </p:nvPr>
        </p:nvSpPr>
        <p:spPr>
          <a:xfrm>
            <a:off x="2259481" y="2580350"/>
            <a:ext cx="1663700" cy="394330"/>
          </a:xfrm>
        </p:spPr>
        <p:txBody>
          <a:bodyPr/>
          <a:lstStyle/>
          <a:p>
            <a:pPr marL="0" indent="0" algn="ctr">
              <a:buNone/>
            </a:pPr>
            <a:r>
              <a:rPr lang="en-GB" b="1" dirty="0"/>
              <a:t>Credit, market and liquidity risks</a:t>
            </a:r>
          </a:p>
        </p:txBody>
      </p:sp>
    </p:spTree>
    <p:extLst>
      <p:ext uri="{BB962C8B-B14F-4D97-AF65-F5344CB8AC3E}">
        <p14:creationId xmlns:p14="http://schemas.microsoft.com/office/powerpoint/2010/main" val="2362917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8EPqT1vkNoYsQZUq1_rBQ"/>
</p:tagLst>
</file>

<file path=ppt/theme/theme1.xml><?xml version="1.0" encoding="utf-8"?>
<a:theme xmlns:a="http://schemas.openxmlformats.org/drawingml/2006/main" name="Prudential_20181212">
  <a:themeElements>
    <a:clrScheme name="Prudential_Colour_v8">
      <a:dk1>
        <a:srgbClr val="687379"/>
      </a:dk1>
      <a:lt1>
        <a:srgbClr val="FFFFFF"/>
      </a:lt1>
      <a:dk2>
        <a:srgbClr val="ED1B2E"/>
      </a:dk2>
      <a:lt2>
        <a:srgbClr val="D0D0CE"/>
      </a:lt2>
      <a:accent1>
        <a:srgbClr val="ED1B2E"/>
      </a:accent1>
      <a:accent2>
        <a:srgbClr val="F1AD79"/>
      </a:accent2>
      <a:accent3>
        <a:srgbClr val="F37682"/>
      </a:accent3>
      <a:accent4>
        <a:srgbClr val="F2C737"/>
      </a:accent4>
      <a:accent5>
        <a:srgbClr val="5CB8B2"/>
      </a:accent5>
      <a:accent6>
        <a:srgbClr val="1B365D"/>
      </a:accent6>
      <a:hlink>
        <a:srgbClr val="ED1B2E"/>
      </a:hlink>
      <a:folHlink>
        <a:srgbClr val="000000"/>
      </a:folHlink>
    </a:clrScheme>
    <a:fontScheme name="Office">
      <a:majorFont>
        <a:latin typeface="Verdana"/>
        <a:ea typeface=""/>
        <a:cs typeface=""/>
        <a:font script="Jpan" typeface="ＭＳ Ｐゴシック"/>
        <a:font script="Hang" typeface="맑은 고딕"/>
        <a:font script="Hans" typeface="微软雅黑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微软雅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sz="12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w="12700" cap="flat" cmpd="sng" algn="ctr">
          <a:solidFill>
            <a:schemeClr val="tx1"/>
          </a:solidFill>
          <a:prstDash val="solid"/>
          <a:round/>
          <a:headEnd type="none" w="lg" len="med"/>
          <a:tailEnd type="none" w="lg" len="med"/>
        </a:ln>
        <a:effectLst/>
      </a:spPr>
      <a:bodyPr/>
      <a:lstStyle/>
    </a:lnDef>
    <a:txDef>
      <a:spPr>
        <a:noFill/>
      </a:spPr>
      <a:bodyPr wrap="none" lIns="0" tIns="0" rIns="0" bIns="0" rtlCol="0">
        <a:spAutoFit/>
      </a:bodyPr>
      <a:lstStyle>
        <a:defPPr algn="l">
          <a:defRPr sz="1200" dirty="0" err="1" smtClean="0"/>
        </a:defPPr>
      </a:lstStyle>
    </a:txDef>
  </a:objectDefaults>
  <a:extraClrSchemeLst/>
  <a:custClrLst>
    <a:custClr name="Grey 1">
      <a:srgbClr val="4E565C"/>
    </a:custClr>
    <a:custClr name="Grey 2">
      <a:srgbClr val="68737A"/>
    </a:custClr>
    <a:custClr name="Grey 3">
      <a:srgbClr val="A3ABB1"/>
    </a:custClr>
    <a:custClr name="Grey 4">
      <a:srgbClr val="C2C7CB"/>
    </a:custClr>
    <a:custClr name="Orange">
      <a:srgbClr val="EDA50A"/>
    </a:custClr>
    <a:custClr name="Light Orange">
      <a:srgbClr val="F2C737"/>
    </a:custClr>
    <a:custClr name="Deep Orange">
      <a:srgbClr val="E87722"/>
    </a:custClr>
    <a:custClr name="Peach">
      <a:srgbClr val="F1AD7A"/>
    </a:custClr>
    <a:custClr name="Pink">
      <a:srgbClr val="F47682"/>
    </a:custClr>
    <a:custClr name="Prudential Red">
      <a:srgbClr val="ED1B2E"/>
    </a:custClr>
  </a:custClrLst>
  <a:extLst>
    <a:ext uri="{05A4C25C-085E-4340-85A3-A5531E510DB2}">
      <thm15:themeFamily xmlns:thm15="http://schemas.microsoft.com/office/thememl/2012/main" name="Prudential_PowerPoint_16-9_StyleGuideline_v8" id="{7221E06A-AC7B-164E-A006-FA8B515A9F37}" vid="{EA71B9E1-DF4E-914A-9E39-F222B51D9D1D}"/>
    </a:ext>
  </a:extLst>
</a:theme>
</file>

<file path=ppt/theme/theme2.xml><?xml version="1.0" encoding="utf-8"?>
<a:theme xmlns:a="http://schemas.openxmlformats.org/drawingml/2006/main" name="1_Prudential_20181212">
  <a:themeElements>
    <a:clrScheme name="Prudential_Colour_v8">
      <a:dk1>
        <a:srgbClr val="687379"/>
      </a:dk1>
      <a:lt1>
        <a:srgbClr val="FFFFFF"/>
      </a:lt1>
      <a:dk2>
        <a:srgbClr val="ED1B2E"/>
      </a:dk2>
      <a:lt2>
        <a:srgbClr val="D0D0CE"/>
      </a:lt2>
      <a:accent1>
        <a:srgbClr val="ED1B2E"/>
      </a:accent1>
      <a:accent2>
        <a:srgbClr val="F1AD79"/>
      </a:accent2>
      <a:accent3>
        <a:srgbClr val="F37682"/>
      </a:accent3>
      <a:accent4>
        <a:srgbClr val="F2C737"/>
      </a:accent4>
      <a:accent5>
        <a:srgbClr val="5CB8B2"/>
      </a:accent5>
      <a:accent6>
        <a:srgbClr val="1B365D"/>
      </a:accent6>
      <a:hlink>
        <a:srgbClr val="ED1B2E"/>
      </a:hlink>
      <a:folHlink>
        <a:srgbClr val="000000"/>
      </a:folHlink>
    </a:clrScheme>
    <a:fontScheme name="Office">
      <a:majorFont>
        <a:latin typeface="Verdana"/>
        <a:ea typeface=""/>
        <a:cs typeface=""/>
        <a:font script="Jpan" typeface="ＭＳ Ｐゴシック"/>
        <a:font script="Hang" typeface="맑은 고딕"/>
        <a:font script="Hans" typeface="微软雅黑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微软雅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sz="12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w="12700" cap="flat" cmpd="sng" algn="ctr">
          <a:solidFill>
            <a:schemeClr val="tx1"/>
          </a:solidFill>
          <a:prstDash val="solid"/>
          <a:round/>
          <a:headEnd type="none" w="lg" len="med"/>
          <a:tailEnd type="none" w="lg" len="med"/>
        </a:ln>
        <a:effectLst/>
      </a:spPr>
      <a:bodyPr/>
      <a:lstStyle/>
    </a:lnDef>
    <a:txDef>
      <a:spPr>
        <a:noFill/>
      </a:spPr>
      <a:bodyPr wrap="none" lIns="0" tIns="0" rIns="0" bIns="0" rtlCol="0">
        <a:spAutoFit/>
      </a:bodyPr>
      <a:lstStyle>
        <a:defPPr algn="l">
          <a:defRPr sz="1200" dirty="0" err="1" smtClean="0"/>
        </a:defPPr>
      </a:lstStyle>
    </a:txDef>
  </a:objectDefaults>
  <a:extraClrSchemeLst/>
  <a:custClrLst>
    <a:custClr name="Grey 1">
      <a:srgbClr val="4E565C"/>
    </a:custClr>
    <a:custClr name="Grey 2">
      <a:srgbClr val="68737A"/>
    </a:custClr>
    <a:custClr name="Grey 3">
      <a:srgbClr val="A3ABB1"/>
    </a:custClr>
    <a:custClr name="Grey 4">
      <a:srgbClr val="C2C7CB"/>
    </a:custClr>
    <a:custClr name="Orange">
      <a:srgbClr val="EDA50A"/>
    </a:custClr>
    <a:custClr name="Light Orange">
      <a:srgbClr val="F2C737"/>
    </a:custClr>
    <a:custClr name="Deep Orange">
      <a:srgbClr val="E87722"/>
    </a:custClr>
    <a:custClr name="Peach">
      <a:srgbClr val="F1AD7A"/>
    </a:custClr>
    <a:custClr name="Pink">
      <a:srgbClr val="F47682"/>
    </a:custClr>
    <a:custClr name="Prudential Red">
      <a:srgbClr val="ED1B2E"/>
    </a:custClr>
  </a:custClrLst>
  <a:extLst>
    <a:ext uri="{05A4C25C-085E-4340-85A3-A5531E510DB2}">
      <thm15:themeFamily xmlns:thm15="http://schemas.microsoft.com/office/thememl/2012/main" name="Prudential_PowerPoint_16-9_StyleGuideline_v8" id="{7221E06A-AC7B-164E-A006-FA8B515A9F37}" vid="{EA71B9E1-DF4E-914A-9E39-F222B51D9D1D}"/>
    </a:ext>
  </a:extLst>
</a:theme>
</file>

<file path=ppt/theme/theme3.xml><?xml version="1.0" encoding="utf-8"?>
<a:theme xmlns:a="http://schemas.openxmlformats.org/drawingml/2006/main" name="3_Prudential_20181212">
  <a:themeElements>
    <a:clrScheme name="Prudential_Colour_v8">
      <a:dk1>
        <a:srgbClr val="687379"/>
      </a:dk1>
      <a:lt1>
        <a:srgbClr val="FFFFFF"/>
      </a:lt1>
      <a:dk2>
        <a:srgbClr val="ED1B2E"/>
      </a:dk2>
      <a:lt2>
        <a:srgbClr val="D0D0CE"/>
      </a:lt2>
      <a:accent1>
        <a:srgbClr val="ED1B2E"/>
      </a:accent1>
      <a:accent2>
        <a:srgbClr val="F1AD79"/>
      </a:accent2>
      <a:accent3>
        <a:srgbClr val="F37682"/>
      </a:accent3>
      <a:accent4>
        <a:srgbClr val="F2C737"/>
      </a:accent4>
      <a:accent5>
        <a:srgbClr val="5CB8B2"/>
      </a:accent5>
      <a:accent6>
        <a:srgbClr val="1B365D"/>
      </a:accent6>
      <a:hlink>
        <a:srgbClr val="ED1B2E"/>
      </a:hlink>
      <a:folHlink>
        <a:srgbClr val="000000"/>
      </a:folHlink>
    </a:clrScheme>
    <a:fontScheme name="Office">
      <a:majorFont>
        <a:latin typeface="Verdana"/>
        <a:ea typeface=""/>
        <a:cs typeface=""/>
        <a:font script="Jpan" typeface="ＭＳ Ｐゴシック"/>
        <a:font script="Hang" typeface="맑은 고딕"/>
        <a:font script="Hans" typeface="微软雅黑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Verdana"/>
        <a:ea typeface=""/>
        <a:cs typeface=""/>
        <a:font script="Jpan" typeface="ＭＳ Ｐゴシック"/>
        <a:font script="Hang" typeface="맑은 고딕"/>
        <a:font script="Hans" typeface="微软雅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sz="12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noFill/>
        <a:ln w="12700" cap="flat" cmpd="sng" algn="ctr">
          <a:solidFill>
            <a:schemeClr val="tx1"/>
          </a:solidFill>
          <a:prstDash val="solid"/>
          <a:round/>
          <a:headEnd type="none" w="lg" len="med"/>
          <a:tailEnd type="none" w="lg" len="med"/>
        </a:ln>
        <a:effectLst/>
      </a:spPr>
      <a:bodyPr/>
      <a:lstStyle/>
    </a:lnDef>
    <a:txDef>
      <a:spPr>
        <a:noFill/>
      </a:spPr>
      <a:bodyPr wrap="none" lIns="0" tIns="0" rIns="0" bIns="0" rtlCol="0">
        <a:spAutoFit/>
      </a:bodyPr>
      <a:lstStyle>
        <a:defPPr algn="l">
          <a:defRPr sz="1200" dirty="0" err="1" smtClean="0"/>
        </a:defPPr>
      </a:lstStyle>
    </a:txDef>
  </a:objectDefaults>
  <a:extraClrSchemeLst/>
  <a:custClrLst>
    <a:custClr name="Grey 1">
      <a:srgbClr val="4E565C"/>
    </a:custClr>
    <a:custClr name="Grey 2">
      <a:srgbClr val="68737A"/>
    </a:custClr>
    <a:custClr name="Grey 3">
      <a:srgbClr val="A3ABB1"/>
    </a:custClr>
    <a:custClr name="Grey 4">
      <a:srgbClr val="C2C7CB"/>
    </a:custClr>
    <a:custClr name="Orange">
      <a:srgbClr val="EDA50A"/>
    </a:custClr>
    <a:custClr name="Light Orange">
      <a:srgbClr val="F2C737"/>
    </a:custClr>
    <a:custClr name="Deep Orange">
      <a:srgbClr val="E87722"/>
    </a:custClr>
    <a:custClr name="Peach">
      <a:srgbClr val="F1AD7A"/>
    </a:custClr>
    <a:custClr name="Pink">
      <a:srgbClr val="F47682"/>
    </a:custClr>
    <a:custClr name="Prudential Red">
      <a:srgbClr val="ED1B2E"/>
    </a:custClr>
  </a:custClrLst>
  <a:extLst>
    <a:ext uri="{05A4C25C-085E-4340-85A3-A5531E510DB2}">
      <thm15:themeFamily xmlns:thm15="http://schemas.microsoft.com/office/thememl/2012/main" name="Prudential_PowerPoint_16-9_StyleGuideline_v8" id="{7221E06A-AC7B-164E-A006-FA8B515A9F37}" vid="{EA71B9E1-DF4E-914A-9E39-F222B51D9D1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34787906-181c-4874-93de-a34444ea086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D892EE10A86F049833C92978EBB6CE2" ma:contentTypeVersion="18" ma:contentTypeDescription="Create a new document." ma:contentTypeScope="" ma:versionID="4bf6354ece03d601a52b25ed3439e4f4">
  <xsd:schema xmlns:xsd="http://www.w3.org/2001/XMLSchema" xmlns:xs="http://www.w3.org/2001/XMLSchema" xmlns:p="http://schemas.microsoft.com/office/2006/metadata/properties" xmlns:ns3="34787906-181c-4874-93de-a34444ea0867" xmlns:ns4="eee30218-dfbe-45cc-91c2-cb4d733a3636" targetNamespace="http://schemas.microsoft.com/office/2006/metadata/properties" ma:root="true" ma:fieldsID="3dea1e1d53acbb2d76294bfaa65fde95" ns3:_="" ns4:_="">
    <xsd:import namespace="34787906-181c-4874-93de-a34444ea0867"/>
    <xsd:import namespace="eee30218-dfbe-45cc-91c2-cb4d733a3636"/>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OCR" minOccurs="0"/>
                <xsd:element ref="ns3:MediaServiceDateTaken" minOccurs="0"/>
                <xsd:element ref="ns3:MediaLengthInSeconds" minOccurs="0"/>
                <xsd:element ref="ns3:MediaServiceLocation" minOccurs="0"/>
                <xsd:element ref="ns3:_activity"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4787906-181c-4874-93de-a34444ea08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ee30218-dfbe-45cc-91c2-cb4d733a363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EA4C28-F4EC-4569-9003-AEC4D2181C2C}">
  <ds:schemaRefs>
    <ds:schemaRef ds:uri="http://purl.org/dc/elements/1.1/"/>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eee30218-dfbe-45cc-91c2-cb4d733a3636"/>
    <ds:schemaRef ds:uri="http://www.w3.org/XML/1998/namespace"/>
    <ds:schemaRef ds:uri="34787906-181c-4874-93de-a34444ea0867"/>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83AAA5B7-8660-4E1D-9054-8340EB1EC9E3}">
  <ds:schemaRefs>
    <ds:schemaRef ds:uri="http://schemas.microsoft.com/sharepoint/v3/contenttype/forms"/>
  </ds:schemaRefs>
</ds:datastoreItem>
</file>

<file path=customXml/itemProps3.xml><?xml version="1.0" encoding="utf-8"?>
<ds:datastoreItem xmlns:ds="http://schemas.openxmlformats.org/officeDocument/2006/customXml" ds:itemID="{9CDADB22-BC97-499A-BA2D-5CB2D5D13DA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4787906-181c-4874-93de-a34444ea0867"/>
    <ds:schemaRef ds:uri="eee30218-dfbe-45cc-91c2-cb4d733a363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d121db1-3721-4230-84e8-3331eb029bec}" enabled="1" method="Standard" siteId="{7007305e-2664-4e6b-b9a4-c4d5ccfd1524}" removed="0"/>
</clbl:labelList>
</file>

<file path=docProps/app.xml><?xml version="1.0" encoding="utf-8"?>
<Properties xmlns="http://schemas.openxmlformats.org/officeDocument/2006/extended-properties" xmlns:vt="http://schemas.openxmlformats.org/officeDocument/2006/docPropsVTypes">
  <Template>Prudential_PowerPoint_16-9_Template_v8</Template>
  <TotalTime>3024</TotalTime>
  <Words>801</Words>
  <Application>Microsoft Office PowerPoint</Application>
  <PresentationFormat>On-screen Show (16:9)</PresentationFormat>
  <Paragraphs>129</Paragraphs>
  <Slides>20</Slides>
  <Notes>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1" baseType="lpstr">
      <vt:lpstr>Arial</vt:lpstr>
      <vt:lpstr>Calibri</vt:lpstr>
      <vt:lpstr>Courier New</vt:lpstr>
      <vt:lpstr>Pru Sans Normal</vt:lpstr>
      <vt:lpstr>System Font Regular</vt:lpstr>
      <vt:lpstr>Verdana</vt:lpstr>
      <vt:lpstr>Wingdings</vt:lpstr>
      <vt:lpstr>Prudential_20181212</vt:lpstr>
      <vt:lpstr>1_Prudential_20181212</vt:lpstr>
      <vt:lpstr>3_Prudential_20181212</vt:lpstr>
      <vt:lpstr>think-cell Slide</vt:lpstr>
      <vt:lpstr>Life insurance in the face of climate change:  Adapting to increasing natural catastrophes in Africa</vt:lpstr>
      <vt:lpstr>PowerPoint Presentation</vt:lpstr>
      <vt:lpstr>PowerPoint Presentation</vt:lpstr>
      <vt:lpstr>PowerPoint Presentation</vt:lpstr>
      <vt:lpstr>Climate change impacts are here already</vt:lpstr>
      <vt:lpstr>The impact is different to the average</vt:lpstr>
      <vt:lpstr>PowerPoint Presentation</vt:lpstr>
      <vt:lpstr>What are the climate risks?</vt:lpstr>
      <vt:lpstr>PowerPoint Presentation</vt:lpstr>
      <vt:lpstr>Change is also a source of opportunity</vt:lpstr>
      <vt:lpstr>What impact can life insurers have?</vt:lpstr>
      <vt:lpstr>How can companies assess double materiality?</vt:lpstr>
      <vt:lpstr>How is Prudential adapting?</vt:lpstr>
      <vt:lpstr>What is Prudential’s carbon footprint?</vt:lpstr>
      <vt:lpstr>What are Prudential’s sustainability targets?</vt:lpstr>
      <vt:lpstr>What is responsible investment?</vt:lpstr>
      <vt:lpstr>What are the challenges for transition finance?</vt:lpstr>
      <vt:lpstr>What has been needed for all the above? </vt:lpstr>
      <vt:lpstr>Summary</vt:lpstr>
      <vt:lpstr>Final com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za Jansen</dc:creator>
  <cp:lastModifiedBy>Coertze, Roelof</cp:lastModifiedBy>
  <cp:revision>58</cp:revision>
  <cp:lastPrinted>2019-01-08T06:00:20Z</cp:lastPrinted>
  <dcterms:created xsi:type="dcterms:W3CDTF">2021-05-10T06:34:42Z</dcterms:created>
  <dcterms:modified xsi:type="dcterms:W3CDTF">2024-05-28T06:2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umentMSOLanguageID">
    <vt:lpwstr>msoLanguageIDEnglishUK</vt:lpwstr>
  </property>
  <property fmtid="{D5CDD505-2E9C-101B-9397-08002B2CF9AE}" pid="3" name="MSIP_Label_ed121db1-3721-4230-84e8-3331eb029bec_Enabled">
    <vt:lpwstr>True</vt:lpwstr>
  </property>
  <property fmtid="{D5CDD505-2E9C-101B-9397-08002B2CF9AE}" pid="4" name="MSIP_Label_ed121db1-3721-4230-84e8-3331eb029bec_SiteId">
    <vt:lpwstr>7007305e-2664-4e6b-b9a4-c4d5ccfd1524</vt:lpwstr>
  </property>
  <property fmtid="{D5CDD505-2E9C-101B-9397-08002B2CF9AE}" pid="5" name="MSIP_Label_ed121db1-3721-4230-84e8-3331eb029bec_Owner">
    <vt:lpwstr>Liza.Jansen@prudential.com.hk</vt:lpwstr>
  </property>
  <property fmtid="{D5CDD505-2E9C-101B-9397-08002B2CF9AE}" pid="6" name="MSIP_Label_ed121db1-3721-4230-84e8-3331eb029bec_SetDate">
    <vt:lpwstr>2021-05-10T06:48:10.4294391Z</vt:lpwstr>
  </property>
  <property fmtid="{D5CDD505-2E9C-101B-9397-08002B2CF9AE}" pid="7" name="MSIP_Label_ed121db1-3721-4230-84e8-3331eb029bec_Name">
    <vt:lpwstr>Restricted</vt:lpwstr>
  </property>
  <property fmtid="{D5CDD505-2E9C-101B-9397-08002B2CF9AE}" pid="8" name="MSIP_Label_ed121db1-3721-4230-84e8-3331eb029bec_Application">
    <vt:lpwstr>Microsoft Azure Information Protection</vt:lpwstr>
  </property>
  <property fmtid="{D5CDD505-2E9C-101B-9397-08002B2CF9AE}" pid="9" name="MSIP_Label_ed121db1-3721-4230-84e8-3331eb029bec_ActionId">
    <vt:lpwstr>9b67ce55-bde5-4203-aef9-a69f1f3c5737</vt:lpwstr>
  </property>
  <property fmtid="{D5CDD505-2E9C-101B-9397-08002B2CF9AE}" pid="10" name="MSIP_Label_ed121db1-3721-4230-84e8-3331eb029bec_Extended_MSFT_Method">
    <vt:lpwstr>Automatic</vt:lpwstr>
  </property>
  <property fmtid="{D5CDD505-2E9C-101B-9397-08002B2CF9AE}" pid="11" name="Sensitivity">
    <vt:lpwstr>Restricted</vt:lpwstr>
  </property>
  <property fmtid="{D5CDD505-2E9C-101B-9397-08002B2CF9AE}" pid="12" name="ContentTypeId">
    <vt:lpwstr>0x0101007D892EE10A86F049833C92978EBB6CE2</vt:lpwstr>
  </property>
  <property fmtid="{D5CDD505-2E9C-101B-9397-08002B2CF9AE}" pid="13" name="MediaServiceImageTags">
    <vt:lpwstr/>
  </property>
</Properties>
</file>